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</p:sldMasterIdLst>
  <p:notesMasterIdLst>
    <p:notesMasterId r:id="rId42"/>
  </p:notesMasterIdLst>
  <p:sldIdLst>
    <p:sldId id="1722" r:id="rId4"/>
    <p:sldId id="4642" r:id="rId5"/>
    <p:sldId id="1731" r:id="rId6"/>
    <p:sldId id="1635" r:id="rId7"/>
    <p:sldId id="2260" r:id="rId8"/>
    <p:sldId id="2261" r:id="rId9"/>
    <p:sldId id="4829" r:id="rId10"/>
    <p:sldId id="4830" r:id="rId11"/>
    <p:sldId id="4831" r:id="rId12"/>
    <p:sldId id="1726" r:id="rId13"/>
    <p:sldId id="4627" r:id="rId14"/>
    <p:sldId id="1728" r:id="rId15"/>
    <p:sldId id="4835" r:id="rId16"/>
    <p:sldId id="2262" r:id="rId17"/>
    <p:sldId id="4836" r:id="rId18"/>
    <p:sldId id="2263" r:id="rId19"/>
    <p:sldId id="4671" r:id="rId20"/>
    <p:sldId id="2272" r:id="rId21"/>
    <p:sldId id="2274" r:id="rId22"/>
    <p:sldId id="2276" r:id="rId23"/>
    <p:sldId id="4643" r:id="rId24"/>
    <p:sldId id="1482" r:id="rId25"/>
    <p:sldId id="1091" r:id="rId26"/>
    <p:sldId id="4837" r:id="rId27"/>
    <p:sldId id="4838" r:id="rId28"/>
    <p:sldId id="4839" r:id="rId29"/>
    <p:sldId id="4840" r:id="rId30"/>
    <p:sldId id="4841" r:id="rId31"/>
    <p:sldId id="4842" r:id="rId32"/>
    <p:sldId id="4843" r:id="rId33"/>
    <p:sldId id="4832" r:id="rId34"/>
    <p:sldId id="4833" r:id="rId35"/>
    <p:sldId id="2388" r:id="rId36"/>
    <p:sldId id="4850" r:id="rId37"/>
    <p:sldId id="4851" r:id="rId38"/>
    <p:sldId id="4589" r:id="rId39"/>
    <p:sldId id="4834" r:id="rId40"/>
    <p:sldId id="4852" r:id="rId41"/>
  </p:sldIdLst>
  <p:sldSz cx="12192000" cy="6858000"/>
  <p:notesSz cx="6858000" cy="9144000"/>
  <p:embeddedFontLst>
    <p:embeddedFont>
      <p:font typeface="Calibri" panose="020F0502020204030204" pitchFamily="34" charset="0"/>
      <p:regular r:id="rId43"/>
      <p:bold r:id="rId44"/>
      <p:italic r:id="rId45"/>
      <p:boldItalic r:id="rId46"/>
    </p:embeddedFont>
    <p:embeddedFont>
      <p:font typeface="Calibri Light" panose="020F0302020204030204" pitchFamily="34" charset="0"/>
      <p:regular r:id="rId47"/>
      <p:italic r:id="rId48"/>
    </p:embeddedFont>
  </p:embeddedFontLst>
  <p:custDataLst>
    <p:tags r:id="rId49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00FF"/>
    <a:srgbClr val="00FF00"/>
    <a:srgbClr val="0000FF"/>
    <a:srgbClr val="000000"/>
    <a:srgbClr val="F3D9DC"/>
    <a:srgbClr val="EFCCCF"/>
    <a:srgbClr val="FFFFFF"/>
    <a:srgbClr val="F7E7E9"/>
    <a:srgbClr val="B0C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96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294" y="102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214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notesMaster" Target="notesMasters/notesMaster1.xml"/><Relationship Id="rId47" Type="http://schemas.openxmlformats.org/officeDocument/2006/relationships/font" Target="fonts/font5.fntdata"/><Relationship Id="rId50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font" Target="fonts/font3.fntdata"/><Relationship Id="rId53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font" Target="fonts/font2.fntdata"/><Relationship Id="rId52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font" Target="fonts/font1.fntdata"/><Relationship Id="rId48" Type="http://schemas.openxmlformats.org/officeDocument/2006/relationships/font" Target="fonts/font6.fntdata"/><Relationship Id="rId8" Type="http://schemas.openxmlformats.org/officeDocument/2006/relationships/slide" Target="slides/slide5.xml"/><Relationship Id="rId51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font" Target="fonts/font4.fntdata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J$1:$PN$1</c:f>
              <c:strCache>
                <c:ptCount val="421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4.XII.21</c:v>
                </c:pt>
                <c:pt idx="362">
                  <c:v>27.XII.21</c:v>
                </c:pt>
                <c:pt idx="363">
                  <c:v>28.XII.21</c:v>
                </c:pt>
                <c:pt idx="364">
                  <c:v>29.XII.21</c:v>
                </c:pt>
                <c:pt idx="365">
                  <c:v>30.XII.21</c:v>
                </c:pt>
                <c:pt idx="366">
                  <c:v>31.XII.21</c:v>
                </c:pt>
                <c:pt idx="367">
                  <c:v>2.I.22</c:v>
                </c:pt>
                <c:pt idx="368">
                  <c:v>3.I.22</c:v>
                </c:pt>
                <c:pt idx="369">
                  <c:v>4.I.22</c:v>
                </c:pt>
                <c:pt idx="370">
                  <c:v>5.I.22</c:v>
                </c:pt>
                <c:pt idx="371">
                  <c:v>6.I.22</c:v>
                </c:pt>
                <c:pt idx="372">
                  <c:v>7.I.22</c:v>
                </c:pt>
                <c:pt idx="373">
                  <c:v>8.I.22</c:v>
                </c:pt>
                <c:pt idx="374">
                  <c:v>9.I.22</c:v>
                </c:pt>
                <c:pt idx="375">
                  <c:v>10.I.22</c:v>
                </c:pt>
                <c:pt idx="376">
                  <c:v>11.I.22</c:v>
                </c:pt>
                <c:pt idx="377">
                  <c:v>12.I.22</c:v>
                </c:pt>
                <c:pt idx="378">
                  <c:v>13.I.22</c:v>
                </c:pt>
                <c:pt idx="379">
                  <c:v>14.I.22</c:v>
                </c:pt>
                <c:pt idx="380">
                  <c:v>15.I.22</c:v>
                </c:pt>
                <c:pt idx="381">
                  <c:v>16.I.22</c:v>
                </c:pt>
                <c:pt idx="382">
                  <c:v>17.I.22</c:v>
                </c:pt>
                <c:pt idx="383">
                  <c:v>18.I.22</c:v>
                </c:pt>
                <c:pt idx="384">
                  <c:v>19.I.22</c:v>
                </c:pt>
                <c:pt idx="385">
                  <c:v>20.I.22</c:v>
                </c:pt>
                <c:pt idx="386">
                  <c:v>21.I.22</c:v>
                </c:pt>
                <c:pt idx="387">
                  <c:v>22.I.22</c:v>
                </c:pt>
                <c:pt idx="388">
                  <c:v>23.I.22</c:v>
                </c:pt>
                <c:pt idx="389">
                  <c:v>24.I.22</c:v>
                </c:pt>
                <c:pt idx="390">
                  <c:v>25.I.22</c:v>
                </c:pt>
                <c:pt idx="391">
                  <c:v>26.I.22</c:v>
                </c:pt>
                <c:pt idx="392">
                  <c:v>27.I.22</c:v>
                </c:pt>
                <c:pt idx="393">
                  <c:v>28.I.22</c:v>
                </c:pt>
                <c:pt idx="394">
                  <c:v>29.I.22</c:v>
                </c:pt>
                <c:pt idx="395">
                  <c:v>30.I.22</c:v>
                </c:pt>
                <c:pt idx="396">
                  <c:v>31.I.22</c:v>
                </c:pt>
                <c:pt idx="397">
                  <c:v>1.II.22</c:v>
                </c:pt>
                <c:pt idx="398">
                  <c:v>2.II.22</c:v>
                </c:pt>
                <c:pt idx="399">
                  <c:v>3.II.22</c:v>
                </c:pt>
                <c:pt idx="400">
                  <c:v>4.II.22</c:v>
                </c:pt>
                <c:pt idx="401">
                  <c:v>5.II.22</c:v>
                </c:pt>
                <c:pt idx="402">
                  <c:v>6.II.22</c:v>
                </c:pt>
                <c:pt idx="403">
                  <c:v>7.II.22</c:v>
                </c:pt>
                <c:pt idx="404">
                  <c:v>8.II.22</c:v>
                </c:pt>
                <c:pt idx="405">
                  <c:v>9.II.22</c:v>
                </c:pt>
                <c:pt idx="406">
                  <c:v>10.II.22</c:v>
                </c:pt>
                <c:pt idx="407">
                  <c:v>11.II.22</c:v>
                </c:pt>
                <c:pt idx="408">
                  <c:v>12.II.22</c:v>
                </c:pt>
                <c:pt idx="409">
                  <c:v>13.II.22</c:v>
                </c:pt>
                <c:pt idx="410">
                  <c:v>14.II.22</c:v>
                </c:pt>
                <c:pt idx="411">
                  <c:v>15.II.22</c:v>
                </c:pt>
                <c:pt idx="412">
                  <c:v>16.II.22</c:v>
                </c:pt>
                <c:pt idx="413">
                  <c:v>17.II.22</c:v>
                </c:pt>
                <c:pt idx="414">
                  <c:v>18.II.22</c:v>
                </c:pt>
                <c:pt idx="415">
                  <c:v>19.II.22</c:v>
                </c:pt>
                <c:pt idx="416">
                  <c:v>21.II.22</c:v>
                </c:pt>
                <c:pt idx="417">
                  <c:v>22.II.22</c:v>
                </c:pt>
                <c:pt idx="418">
                  <c:v>23.II.22</c:v>
                </c:pt>
                <c:pt idx="419">
                  <c:v>24.II.22</c:v>
                </c:pt>
                <c:pt idx="420">
                  <c:v>25.II.22</c:v>
                </c:pt>
              </c:strCache>
            </c:strRef>
          </c:cat>
          <c:val>
            <c:numRef>
              <c:f>List1!$J$2:$PN$2</c:f>
              <c:numCache>
                <c:formatCode>General</c:formatCode>
                <c:ptCount val="421"/>
                <c:pt idx="0">
                  <c:v>2942</c:v>
                </c:pt>
                <c:pt idx="1">
                  <c:v>5610</c:v>
                </c:pt>
                <c:pt idx="2">
                  <c:v>8313</c:v>
                </c:pt>
                <c:pt idx="3">
                  <c:v>9204</c:v>
                </c:pt>
                <c:pt idx="4">
                  <c:v>9441</c:v>
                </c:pt>
                <c:pt idx="5">
                  <c:v>10601</c:v>
                </c:pt>
                <c:pt idx="6">
                  <c:v>11443</c:v>
                </c:pt>
                <c:pt idx="7">
                  <c:v>14611</c:v>
                </c:pt>
                <c:pt idx="8">
                  <c:v>18527</c:v>
                </c:pt>
                <c:pt idx="9">
                  <c:v>23455</c:v>
                </c:pt>
                <c:pt idx="10">
                  <c:v>29287</c:v>
                </c:pt>
                <c:pt idx="11">
                  <c:v>36074</c:v>
                </c:pt>
                <c:pt idx="12">
                  <c:v>37237</c:v>
                </c:pt>
                <c:pt idx="13">
                  <c:v>38195</c:v>
                </c:pt>
                <c:pt idx="14">
                  <c:v>44605</c:v>
                </c:pt>
                <c:pt idx="15">
                  <c:v>52021</c:v>
                </c:pt>
                <c:pt idx="16">
                  <c:v>58632</c:v>
                </c:pt>
                <c:pt idx="17">
                  <c:v>65616</c:v>
                </c:pt>
                <c:pt idx="18">
                  <c:v>71810</c:v>
                </c:pt>
                <c:pt idx="19">
                  <c:v>72747</c:v>
                </c:pt>
                <c:pt idx="20">
                  <c:v>73295</c:v>
                </c:pt>
                <c:pt idx="21">
                  <c:v>77983</c:v>
                </c:pt>
                <c:pt idx="22">
                  <c:v>81784</c:v>
                </c:pt>
                <c:pt idx="23">
                  <c:v>85503</c:v>
                </c:pt>
                <c:pt idx="24">
                  <c:v>88896</c:v>
                </c:pt>
                <c:pt idx="25">
                  <c:v>91787</c:v>
                </c:pt>
                <c:pt idx="26">
                  <c:v>92176</c:v>
                </c:pt>
                <c:pt idx="27">
                  <c:v>92412</c:v>
                </c:pt>
                <c:pt idx="28">
                  <c:v>94019</c:v>
                </c:pt>
                <c:pt idx="29">
                  <c:v>95785</c:v>
                </c:pt>
                <c:pt idx="30">
                  <c:v>97234</c:v>
                </c:pt>
                <c:pt idx="31">
                  <c:v>98622</c:v>
                </c:pt>
                <c:pt idx="32">
                  <c:v>99902</c:v>
                </c:pt>
                <c:pt idx="33">
                  <c:v>99973</c:v>
                </c:pt>
                <c:pt idx="34">
                  <c:v>100044</c:v>
                </c:pt>
                <c:pt idx="35">
                  <c:v>100938</c:v>
                </c:pt>
                <c:pt idx="36">
                  <c:v>101806</c:v>
                </c:pt>
                <c:pt idx="37">
                  <c:v>102622</c:v>
                </c:pt>
                <c:pt idx="38">
                  <c:v>103331</c:v>
                </c:pt>
                <c:pt idx="39">
                  <c:v>104260</c:v>
                </c:pt>
                <c:pt idx="40">
                  <c:v>104311</c:v>
                </c:pt>
                <c:pt idx="41">
                  <c:v>104362</c:v>
                </c:pt>
                <c:pt idx="42">
                  <c:v>105004</c:v>
                </c:pt>
                <c:pt idx="43">
                  <c:v>105659</c:v>
                </c:pt>
                <c:pt idx="44">
                  <c:v>106524</c:v>
                </c:pt>
                <c:pt idx="45">
                  <c:v>107579</c:v>
                </c:pt>
                <c:pt idx="46">
                  <c:v>108781</c:v>
                </c:pt>
                <c:pt idx="47">
                  <c:v>109166</c:v>
                </c:pt>
                <c:pt idx="48">
                  <c:v>109350</c:v>
                </c:pt>
                <c:pt idx="49">
                  <c:v>110672</c:v>
                </c:pt>
                <c:pt idx="50">
                  <c:v>111963</c:v>
                </c:pt>
                <c:pt idx="51">
                  <c:v>113340</c:v>
                </c:pt>
                <c:pt idx="52">
                  <c:v>114904</c:v>
                </c:pt>
                <c:pt idx="53">
                  <c:v>116761</c:v>
                </c:pt>
                <c:pt idx="54">
                  <c:v>117222</c:v>
                </c:pt>
                <c:pt idx="55">
                  <c:v>117385</c:v>
                </c:pt>
                <c:pt idx="56">
                  <c:v>118977</c:v>
                </c:pt>
                <c:pt idx="57">
                  <c:v>121273</c:v>
                </c:pt>
                <c:pt idx="58">
                  <c:v>123773</c:v>
                </c:pt>
                <c:pt idx="59">
                  <c:v>126804</c:v>
                </c:pt>
                <c:pt idx="60">
                  <c:v>129409</c:v>
                </c:pt>
                <c:pt idx="61">
                  <c:v>129717</c:v>
                </c:pt>
                <c:pt idx="62">
                  <c:v>129938</c:v>
                </c:pt>
                <c:pt idx="63">
                  <c:v>132485</c:v>
                </c:pt>
                <c:pt idx="64">
                  <c:v>135242</c:v>
                </c:pt>
                <c:pt idx="65">
                  <c:v>137910</c:v>
                </c:pt>
                <c:pt idx="66">
                  <c:v>140367</c:v>
                </c:pt>
                <c:pt idx="67">
                  <c:v>143335</c:v>
                </c:pt>
                <c:pt idx="68">
                  <c:v>144042</c:v>
                </c:pt>
                <c:pt idx="69">
                  <c:v>144557</c:v>
                </c:pt>
                <c:pt idx="70">
                  <c:v>146505</c:v>
                </c:pt>
                <c:pt idx="71">
                  <c:v>148652</c:v>
                </c:pt>
                <c:pt idx="72">
                  <c:v>150901</c:v>
                </c:pt>
                <c:pt idx="73">
                  <c:v>153904</c:v>
                </c:pt>
                <c:pt idx="74">
                  <c:v>156525</c:v>
                </c:pt>
                <c:pt idx="75">
                  <c:v>157183</c:v>
                </c:pt>
                <c:pt idx="76">
                  <c:v>157752</c:v>
                </c:pt>
                <c:pt idx="77">
                  <c:v>159342</c:v>
                </c:pt>
                <c:pt idx="78">
                  <c:v>161674</c:v>
                </c:pt>
                <c:pt idx="79">
                  <c:v>163991</c:v>
                </c:pt>
                <c:pt idx="80">
                  <c:v>166019</c:v>
                </c:pt>
                <c:pt idx="81">
                  <c:v>168282</c:v>
                </c:pt>
                <c:pt idx="82">
                  <c:v>169157</c:v>
                </c:pt>
                <c:pt idx="83">
                  <c:v>169604</c:v>
                </c:pt>
                <c:pt idx="84">
                  <c:v>170759</c:v>
                </c:pt>
                <c:pt idx="85">
                  <c:v>171999</c:v>
                </c:pt>
                <c:pt idx="86">
                  <c:v>173069</c:v>
                </c:pt>
                <c:pt idx="87">
                  <c:v>174366</c:v>
                </c:pt>
                <c:pt idx="88">
                  <c:v>175744</c:v>
                </c:pt>
                <c:pt idx="89">
                  <c:v>176118</c:v>
                </c:pt>
                <c:pt idx="90">
                  <c:v>176462</c:v>
                </c:pt>
                <c:pt idx="91">
                  <c:v>177245</c:v>
                </c:pt>
                <c:pt idx="92">
                  <c:v>178274</c:v>
                </c:pt>
                <c:pt idx="93">
                  <c:v>179396</c:v>
                </c:pt>
                <c:pt idx="94">
                  <c:v>180501</c:v>
                </c:pt>
                <c:pt idx="95">
                  <c:v>180770</c:v>
                </c:pt>
                <c:pt idx="96">
                  <c:v>180890</c:v>
                </c:pt>
                <c:pt idx="97">
                  <c:v>181006</c:v>
                </c:pt>
                <c:pt idx="98">
                  <c:v>181078</c:v>
                </c:pt>
                <c:pt idx="99">
                  <c:v>181644</c:v>
                </c:pt>
                <c:pt idx="100">
                  <c:v>182320</c:v>
                </c:pt>
                <c:pt idx="101">
                  <c:v>183567</c:v>
                </c:pt>
                <c:pt idx="102">
                  <c:v>184844</c:v>
                </c:pt>
                <c:pt idx="103">
                  <c:v>185221</c:v>
                </c:pt>
                <c:pt idx="104">
                  <c:v>185471</c:v>
                </c:pt>
                <c:pt idx="105">
                  <c:v>186413</c:v>
                </c:pt>
                <c:pt idx="106">
                  <c:v>187228</c:v>
                </c:pt>
                <c:pt idx="107">
                  <c:v>188172</c:v>
                </c:pt>
                <c:pt idx="108">
                  <c:v>189541</c:v>
                </c:pt>
                <c:pt idx="109">
                  <c:v>191090</c:v>
                </c:pt>
                <c:pt idx="110">
                  <c:v>191513</c:v>
                </c:pt>
                <c:pt idx="111">
                  <c:v>191954</c:v>
                </c:pt>
                <c:pt idx="112">
                  <c:v>193060</c:v>
                </c:pt>
                <c:pt idx="113">
                  <c:v>194109</c:v>
                </c:pt>
                <c:pt idx="114">
                  <c:v>195401</c:v>
                </c:pt>
                <c:pt idx="115">
                  <c:v>196874</c:v>
                </c:pt>
                <c:pt idx="116">
                  <c:v>198389</c:v>
                </c:pt>
                <c:pt idx="117">
                  <c:v>198830</c:v>
                </c:pt>
                <c:pt idx="118">
                  <c:v>199204</c:v>
                </c:pt>
                <c:pt idx="119">
                  <c:v>200403</c:v>
                </c:pt>
                <c:pt idx="120">
                  <c:v>201494</c:v>
                </c:pt>
                <c:pt idx="121">
                  <c:v>202884</c:v>
                </c:pt>
                <c:pt idx="122">
                  <c:v>204360</c:v>
                </c:pt>
                <c:pt idx="123">
                  <c:v>205765</c:v>
                </c:pt>
                <c:pt idx="124">
                  <c:v>206102</c:v>
                </c:pt>
                <c:pt idx="125">
                  <c:v>206440</c:v>
                </c:pt>
                <c:pt idx="126">
                  <c:v>207526</c:v>
                </c:pt>
                <c:pt idx="127">
                  <c:v>208632</c:v>
                </c:pt>
                <c:pt idx="128">
                  <c:v>209780</c:v>
                </c:pt>
                <c:pt idx="129">
                  <c:v>210977</c:v>
                </c:pt>
                <c:pt idx="130">
                  <c:v>212284</c:v>
                </c:pt>
                <c:pt idx="131">
                  <c:v>212785</c:v>
                </c:pt>
                <c:pt idx="132">
                  <c:v>213094</c:v>
                </c:pt>
                <c:pt idx="133">
                  <c:v>214067</c:v>
                </c:pt>
                <c:pt idx="134">
                  <c:v>215095</c:v>
                </c:pt>
                <c:pt idx="135">
                  <c:v>216135</c:v>
                </c:pt>
                <c:pt idx="136">
                  <c:v>217280</c:v>
                </c:pt>
                <c:pt idx="137">
                  <c:v>218285</c:v>
                </c:pt>
                <c:pt idx="138">
                  <c:v>218727</c:v>
                </c:pt>
                <c:pt idx="139">
                  <c:v>219013</c:v>
                </c:pt>
                <c:pt idx="140">
                  <c:v>219801</c:v>
                </c:pt>
                <c:pt idx="141">
                  <c:v>220684</c:v>
                </c:pt>
                <c:pt idx="142">
                  <c:v>221594</c:v>
                </c:pt>
                <c:pt idx="143">
                  <c:v>222533</c:v>
                </c:pt>
                <c:pt idx="144">
                  <c:v>223462</c:v>
                </c:pt>
                <c:pt idx="145">
                  <c:v>223816</c:v>
                </c:pt>
                <c:pt idx="146">
                  <c:v>224045</c:v>
                </c:pt>
                <c:pt idx="147">
                  <c:v>224598</c:v>
                </c:pt>
                <c:pt idx="148">
                  <c:v>225227</c:v>
                </c:pt>
                <c:pt idx="149">
                  <c:v>226082</c:v>
                </c:pt>
                <c:pt idx="150">
                  <c:v>226865</c:v>
                </c:pt>
                <c:pt idx="151">
                  <c:v>227694</c:v>
                </c:pt>
                <c:pt idx="152">
                  <c:v>228061</c:v>
                </c:pt>
                <c:pt idx="153">
                  <c:v>228352</c:v>
                </c:pt>
                <c:pt idx="154">
                  <c:v>229048</c:v>
                </c:pt>
                <c:pt idx="155">
                  <c:v>229771</c:v>
                </c:pt>
                <c:pt idx="156">
                  <c:v>230661</c:v>
                </c:pt>
                <c:pt idx="157">
                  <c:v>231501</c:v>
                </c:pt>
                <c:pt idx="158">
                  <c:v>232391</c:v>
                </c:pt>
                <c:pt idx="159">
                  <c:v>232817</c:v>
                </c:pt>
                <c:pt idx="160">
                  <c:v>233223</c:v>
                </c:pt>
                <c:pt idx="161">
                  <c:v>234119</c:v>
                </c:pt>
                <c:pt idx="162">
                  <c:v>235105</c:v>
                </c:pt>
                <c:pt idx="163">
                  <c:v>236031</c:v>
                </c:pt>
                <c:pt idx="164">
                  <c:v>236912</c:v>
                </c:pt>
                <c:pt idx="165">
                  <c:v>237771</c:v>
                </c:pt>
                <c:pt idx="166">
                  <c:v>238300</c:v>
                </c:pt>
                <c:pt idx="167">
                  <c:v>238675</c:v>
                </c:pt>
                <c:pt idx="168">
                  <c:v>239346</c:v>
                </c:pt>
                <c:pt idx="169">
                  <c:v>240110</c:v>
                </c:pt>
                <c:pt idx="170">
                  <c:v>240816</c:v>
                </c:pt>
                <c:pt idx="171">
                  <c:v>241534</c:v>
                </c:pt>
                <c:pt idx="172">
                  <c:v>242211</c:v>
                </c:pt>
                <c:pt idx="173">
                  <c:v>242548</c:v>
                </c:pt>
                <c:pt idx="174">
                  <c:v>242809</c:v>
                </c:pt>
                <c:pt idx="175">
                  <c:v>243325</c:v>
                </c:pt>
                <c:pt idx="176">
                  <c:v>243915</c:v>
                </c:pt>
                <c:pt idx="177">
                  <c:v>244416</c:v>
                </c:pt>
                <c:pt idx="178">
                  <c:v>244919</c:v>
                </c:pt>
                <c:pt idx="179">
                  <c:v>245422</c:v>
                </c:pt>
                <c:pt idx="180">
                  <c:v>245679</c:v>
                </c:pt>
                <c:pt idx="181">
                  <c:v>245872</c:v>
                </c:pt>
                <c:pt idx="182">
                  <c:v>246370</c:v>
                </c:pt>
                <c:pt idx="183">
                  <c:v>246833</c:v>
                </c:pt>
                <c:pt idx="184">
                  <c:v>247316</c:v>
                </c:pt>
                <c:pt idx="185">
                  <c:v>247680</c:v>
                </c:pt>
                <c:pt idx="186">
                  <c:v>248166</c:v>
                </c:pt>
                <c:pt idx="187">
                  <c:v>248264</c:v>
                </c:pt>
                <c:pt idx="188">
                  <c:v>248382</c:v>
                </c:pt>
                <c:pt idx="189">
                  <c:v>248495</c:v>
                </c:pt>
                <c:pt idx="190">
                  <c:v>248596</c:v>
                </c:pt>
                <c:pt idx="191">
                  <c:v>249009</c:v>
                </c:pt>
                <c:pt idx="192">
                  <c:v>249460</c:v>
                </c:pt>
                <c:pt idx="193">
                  <c:v>249906</c:v>
                </c:pt>
                <c:pt idx="194">
                  <c:v>250074</c:v>
                </c:pt>
                <c:pt idx="195">
                  <c:v>250195</c:v>
                </c:pt>
                <c:pt idx="196">
                  <c:v>250641</c:v>
                </c:pt>
                <c:pt idx="197">
                  <c:v>251089</c:v>
                </c:pt>
                <c:pt idx="198">
                  <c:v>251579</c:v>
                </c:pt>
                <c:pt idx="199">
                  <c:v>252079</c:v>
                </c:pt>
                <c:pt idx="200">
                  <c:v>252568</c:v>
                </c:pt>
                <c:pt idx="201">
                  <c:v>252750</c:v>
                </c:pt>
                <c:pt idx="202">
                  <c:v>252896</c:v>
                </c:pt>
                <c:pt idx="203">
                  <c:v>253319</c:v>
                </c:pt>
                <c:pt idx="204">
                  <c:v>253674</c:v>
                </c:pt>
                <c:pt idx="205">
                  <c:v>254144</c:v>
                </c:pt>
                <c:pt idx="206">
                  <c:v>254540</c:v>
                </c:pt>
                <c:pt idx="207">
                  <c:v>254934</c:v>
                </c:pt>
                <c:pt idx="208">
                  <c:v>255046</c:v>
                </c:pt>
                <c:pt idx="209">
                  <c:v>255136</c:v>
                </c:pt>
                <c:pt idx="210">
                  <c:v>255527</c:v>
                </c:pt>
                <c:pt idx="211">
                  <c:v>255947</c:v>
                </c:pt>
                <c:pt idx="212">
                  <c:v>256310</c:v>
                </c:pt>
                <c:pt idx="213">
                  <c:v>256647</c:v>
                </c:pt>
                <c:pt idx="214">
                  <c:v>257069</c:v>
                </c:pt>
                <c:pt idx="215">
                  <c:v>257191</c:v>
                </c:pt>
                <c:pt idx="216">
                  <c:v>257294</c:v>
                </c:pt>
                <c:pt idx="217">
                  <c:v>257577</c:v>
                </c:pt>
                <c:pt idx="218">
                  <c:v>257845</c:v>
                </c:pt>
                <c:pt idx="219">
                  <c:v>258159</c:v>
                </c:pt>
                <c:pt idx="220">
                  <c:v>258426</c:v>
                </c:pt>
                <c:pt idx="221">
                  <c:v>258708</c:v>
                </c:pt>
                <c:pt idx="222">
                  <c:v>258781</c:v>
                </c:pt>
                <c:pt idx="223">
                  <c:v>258845</c:v>
                </c:pt>
                <c:pt idx="224">
                  <c:v>259056</c:v>
                </c:pt>
                <c:pt idx="225">
                  <c:v>259266</c:v>
                </c:pt>
                <c:pt idx="226">
                  <c:v>259429</c:v>
                </c:pt>
                <c:pt idx="227">
                  <c:v>259663</c:v>
                </c:pt>
                <c:pt idx="228">
                  <c:v>259855</c:v>
                </c:pt>
                <c:pt idx="229">
                  <c:v>259912</c:v>
                </c:pt>
                <c:pt idx="230">
                  <c:v>259958</c:v>
                </c:pt>
                <c:pt idx="231">
                  <c:v>260139</c:v>
                </c:pt>
                <c:pt idx="232">
                  <c:v>260321</c:v>
                </c:pt>
                <c:pt idx="233">
                  <c:v>260489</c:v>
                </c:pt>
                <c:pt idx="234">
                  <c:v>260653</c:v>
                </c:pt>
                <c:pt idx="235">
                  <c:v>260899</c:v>
                </c:pt>
                <c:pt idx="236">
                  <c:v>260941</c:v>
                </c:pt>
                <c:pt idx="237">
                  <c:v>260974</c:v>
                </c:pt>
                <c:pt idx="238">
                  <c:v>261176</c:v>
                </c:pt>
                <c:pt idx="239">
                  <c:v>261367</c:v>
                </c:pt>
                <c:pt idx="240">
                  <c:v>261534</c:v>
                </c:pt>
                <c:pt idx="241">
                  <c:v>261696</c:v>
                </c:pt>
                <c:pt idx="242">
                  <c:v>261915</c:v>
                </c:pt>
                <c:pt idx="243">
                  <c:v>261959</c:v>
                </c:pt>
                <c:pt idx="244">
                  <c:v>261992</c:v>
                </c:pt>
                <c:pt idx="245">
                  <c:v>262165</c:v>
                </c:pt>
                <c:pt idx="246">
                  <c:v>262330</c:v>
                </c:pt>
                <c:pt idx="247">
                  <c:v>262456</c:v>
                </c:pt>
                <c:pt idx="248">
                  <c:v>262631</c:v>
                </c:pt>
                <c:pt idx="249">
                  <c:v>262826</c:v>
                </c:pt>
                <c:pt idx="250">
                  <c:v>262861</c:v>
                </c:pt>
                <c:pt idx="251">
                  <c:v>262894</c:v>
                </c:pt>
                <c:pt idx="252">
                  <c:v>263030</c:v>
                </c:pt>
                <c:pt idx="253">
                  <c:v>263120</c:v>
                </c:pt>
                <c:pt idx="254">
                  <c:v>263243</c:v>
                </c:pt>
                <c:pt idx="255">
                  <c:v>263386</c:v>
                </c:pt>
                <c:pt idx="256">
                  <c:v>263532</c:v>
                </c:pt>
                <c:pt idx="257">
                  <c:v>263567</c:v>
                </c:pt>
                <c:pt idx="258">
                  <c:v>263590</c:v>
                </c:pt>
                <c:pt idx="259">
                  <c:v>263701</c:v>
                </c:pt>
                <c:pt idx="260">
                  <c:v>263833</c:v>
                </c:pt>
                <c:pt idx="261">
                  <c:v>263940</c:v>
                </c:pt>
                <c:pt idx="262">
                  <c:v>264061</c:v>
                </c:pt>
                <c:pt idx="263">
                  <c:v>264225</c:v>
                </c:pt>
                <c:pt idx="264">
                  <c:v>264266</c:v>
                </c:pt>
                <c:pt idx="265">
                  <c:v>264279</c:v>
                </c:pt>
                <c:pt idx="266">
                  <c:v>264381</c:v>
                </c:pt>
                <c:pt idx="267">
                  <c:v>264485</c:v>
                </c:pt>
                <c:pt idx="268">
                  <c:v>264582</c:v>
                </c:pt>
                <c:pt idx="269">
                  <c:v>264717</c:v>
                </c:pt>
                <c:pt idx="270">
                  <c:v>264883</c:v>
                </c:pt>
                <c:pt idx="271">
                  <c:v>264915</c:v>
                </c:pt>
                <c:pt idx="272">
                  <c:v>264925</c:v>
                </c:pt>
                <c:pt idx="273">
                  <c:v>265022</c:v>
                </c:pt>
                <c:pt idx="274">
                  <c:v>265030</c:v>
                </c:pt>
                <c:pt idx="275">
                  <c:v>265115</c:v>
                </c:pt>
                <c:pt idx="276">
                  <c:v>265215</c:v>
                </c:pt>
                <c:pt idx="277">
                  <c:v>265307</c:v>
                </c:pt>
                <c:pt idx="278">
                  <c:v>265328</c:v>
                </c:pt>
                <c:pt idx="279">
                  <c:v>265342</c:v>
                </c:pt>
                <c:pt idx="280">
                  <c:v>265410</c:v>
                </c:pt>
                <c:pt idx="281">
                  <c:v>265493</c:v>
                </c:pt>
                <c:pt idx="282">
                  <c:v>265592</c:v>
                </c:pt>
                <c:pt idx="283">
                  <c:v>265662</c:v>
                </c:pt>
                <c:pt idx="284">
                  <c:v>265774</c:v>
                </c:pt>
                <c:pt idx="285">
                  <c:v>265799</c:v>
                </c:pt>
                <c:pt idx="286">
                  <c:v>265811</c:v>
                </c:pt>
                <c:pt idx="287">
                  <c:v>265887</c:v>
                </c:pt>
                <c:pt idx="288">
                  <c:v>265972</c:v>
                </c:pt>
                <c:pt idx="289">
                  <c:v>266053</c:v>
                </c:pt>
                <c:pt idx="290">
                  <c:v>266122</c:v>
                </c:pt>
                <c:pt idx="291">
                  <c:v>266243</c:v>
                </c:pt>
                <c:pt idx="292">
                  <c:v>266274</c:v>
                </c:pt>
                <c:pt idx="293">
                  <c:v>266304</c:v>
                </c:pt>
                <c:pt idx="294">
                  <c:v>266435</c:v>
                </c:pt>
                <c:pt idx="295">
                  <c:v>266530</c:v>
                </c:pt>
                <c:pt idx="296">
                  <c:v>266662</c:v>
                </c:pt>
                <c:pt idx="297">
                  <c:v>266901</c:v>
                </c:pt>
                <c:pt idx="298">
                  <c:v>267208</c:v>
                </c:pt>
                <c:pt idx="299">
                  <c:v>267291</c:v>
                </c:pt>
                <c:pt idx="300">
                  <c:v>267355</c:v>
                </c:pt>
                <c:pt idx="301">
                  <c:v>267617</c:v>
                </c:pt>
                <c:pt idx="302">
                  <c:v>267979</c:v>
                </c:pt>
                <c:pt idx="303">
                  <c:v>268398</c:v>
                </c:pt>
                <c:pt idx="304">
                  <c:v>268482</c:v>
                </c:pt>
                <c:pt idx="305">
                  <c:v>268861</c:v>
                </c:pt>
                <c:pt idx="306">
                  <c:v>268969</c:v>
                </c:pt>
                <c:pt idx="307">
                  <c:v>269039</c:v>
                </c:pt>
                <c:pt idx="308">
                  <c:v>269455</c:v>
                </c:pt>
                <c:pt idx="309">
                  <c:v>269873</c:v>
                </c:pt>
                <c:pt idx="310">
                  <c:v>270291</c:v>
                </c:pt>
                <c:pt idx="311">
                  <c:v>270791</c:v>
                </c:pt>
                <c:pt idx="312">
                  <c:v>271354</c:v>
                </c:pt>
                <c:pt idx="313">
                  <c:v>271509</c:v>
                </c:pt>
                <c:pt idx="314">
                  <c:v>271606</c:v>
                </c:pt>
                <c:pt idx="315">
                  <c:v>272006</c:v>
                </c:pt>
                <c:pt idx="316">
                  <c:v>272346</c:v>
                </c:pt>
                <c:pt idx="317">
                  <c:v>272731</c:v>
                </c:pt>
                <c:pt idx="318">
                  <c:v>273130</c:v>
                </c:pt>
                <c:pt idx="319">
                  <c:v>273665</c:v>
                </c:pt>
                <c:pt idx="320">
                  <c:v>273789</c:v>
                </c:pt>
                <c:pt idx="321">
                  <c:v>273875</c:v>
                </c:pt>
                <c:pt idx="322">
                  <c:v>274295</c:v>
                </c:pt>
                <c:pt idx="323">
                  <c:v>274765</c:v>
                </c:pt>
                <c:pt idx="324">
                  <c:v>274869</c:v>
                </c:pt>
                <c:pt idx="325">
                  <c:v>275378</c:v>
                </c:pt>
                <c:pt idx="326">
                  <c:v>276001</c:v>
                </c:pt>
                <c:pt idx="327">
                  <c:v>276197</c:v>
                </c:pt>
                <c:pt idx="328">
                  <c:v>276339</c:v>
                </c:pt>
                <c:pt idx="329">
                  <c:v>276760</c:v>
                </c:pt>
                <c:pt idx="330">
                  <c:v>277181</c:v>
                </c:pt>
                <c:pt idx="331">
                  <c:v>277643</c:v>
                </c:pt>
                <c:pt idx="332">
                  <c:v>278120</c:v>
                </c:pt>
                <c:pt idx="333">
                  <c:v>278637</c:v>
                </c:pt>
                <c:pt idx="334">
                  <c:v>278787</c:v>
                </c:pt>
                <c:pt idx="335">
                  <c:v>278838</c:v>
                </c:pt>
                <c:pt idx="336">
                  <c:v>279188</c:v>
                </c:pt>
                <c:pt idx="337">
                  <c:v>279522</c:v>
                </c:pt>
                <c:pt idx="338">
                  <c:v>279872</c:v>
                </c:pt>
                <c:pt idx="339">
                  <c:v>280126</c:v>
                </c:pt>
                <c:pt idx="340">
                  <c:v>280390</c:v>
                </c:pt>
                <c:pt idx="341">
                  <c:v>280443</c:v>
                </c:pt>
                <c:pt idx="342">
                  <c:v>280463</c:v>
                </c:pt>
                <c:pt idx="343">
                  <c:v>280653</c:v>
                </c:pt>
                <c:pt idx="344">
                  <c:v>280833</c:v>
                </c:pt>
                <c:pt idx="345">
                  <c:v>281042</c:v>
                </c:pt>
                <c:pt idx="346">
                  <c:v>281210</c:v>
                </c:pt>
                <c:pt idx="347">
                  <c:v>281398</c:v>
                </c:pt>
                <c:pt idx="348">
                  <c:v>281434</c:v>
                </c:pt>
                <c:pt idx="349">
                  <c:v>281460</c:v>
                </c:pt>
                <c:pt idx="350">
                  <c:v>281635</c:v>
                </c:pt>
                <c:pt idx="351">
                  <c:v>281781</c:v>
                </c:pt>
                <c:pt idx="352">
                  <c:v>281919</c:v>
                </c:pt>
                <c:pt idx="353">
                  <c:v>282091</c:v>
                </c:pt>
                <c:pt idx="354">
                  <c:v>282282</c:v>
                </c:pt>
                <c:pt idx="355">
                  <c:v>282337</c:v>
                </c:pt>
                <c:pt idx="356">
                  <c:v>282352</c:v>
                </c:pt>
                <c:pt idx="357">
                  <c:v>282475</c:v>
                </c:pt>
                <c:pt idx="358">
                  <c:v>282580</c:v>
                </c:pt>
                <c:pt idx="359">
                  <c:v>282671</c:v>
                </c:pt>
                <c:pt idx="360">
                  <c:v>282703</c:v>
                </c:pt>
                <c:pt idx="361">
                  <c:v>282704</c:v>
                </c:pt>
                <c:pt idx="362">
                  <c:v>282766</c:v>
                </c:pt>
                <c:pt idx="363">
                  <c:v>282836</c:v>
                </c:pt>
                <c:pt idx="364">
                  <c:v>282904</c:v>
                </c:pt>
                <c:pt idx="365">
                  <c:v>282977</c:v>
                </c:pt>
                <c:pt idx="366">
                  <c:v>282985</c:v>
                </c:pt>
                <c:pt idx="367">
                  <c:v>282992</c:v>
                </c:pt>
                <c:pt idx="368">
                  <c:v>283074</c:v>
                </c:pt>
                <c:pt idx="369">
                  <c:v>283153</c:v>
                </c:pt>
                <c:pt idx="370">
                  <c:v>283256</c:v>
                </c:pt>
                <c:pt idx="371">
                  <c:v>283371</c:v>
                </c:pt>
                <c:pt idx="372">
                  <c:v>283549</c:v>
                </c:pt>
                <c:pt idx="373">
                  <c:v>283571</c:v>
                </c:pt>
                <c:pt idx="374">
                  <c:v>283589</c:v>
                </c:pt>
                <c:pt idx="375">
                  <c:v>283675</c:v>
                </c:pt>
                <c:pt idx="376">
                  <c:v>283770</c:v>
                </c:pt>
                <c:pt idx="377">
                  <c:v>283877</c:v>
                </c:pt>
                <c:pt idx="378">
                  <c:v>283996</c:v>
                </c:pt>
                <c:pt idx="379">
                  <c:v>284152</c:v>
                </c:pt>
                <c:pt idx="380">
                  <c:v>284189</c:v>
                </c:pt>
                <c:pt idx="381">
                  <c:v>284205</c:v>
                </c:pt>
                <c:pt idx="382">
                  <c:v>284299</c:v>
                </c:pt>
                <c:pt idx="383">
                  <c:v>284404</c:v>
                </c:pt>
                <c:pt idx="384">
                  <c:v>284473</c:v>
                </c:pt>
                <c:pt idx="385">
                  <c:v>284535</c:v>
                </c:pt>
                <c:pt idx="386">
                  <c:v>284631</c:v>
                </c:pt>
                <c:pt idx="387">
                  <c:v>284639</c:v>
                </c:pt>
                <c:pt idx="388">
                  <c:v>284647</c:v>
                </c:pt>
                <c:pt idx="389">
                  <c:v>284687</c:v>
                </c:pt>
                <c:pt idx="390">
                  <c:v>284728</c:v>
                </c:pt>
                <c:pt idx="391">
                  <c:v>284772</c:v>
                </c:pt>
                <c:pt idx="392">
                  <c:v>284809</c:v>
                </c:pt>
                <c:pt idx="393">
                  <c:v>284872</c:v>
                </c:pt>
                <c:pt idx="394">
                  <c:v>284886</c:v>
                </c:pt>
                <c:pt idx="395">
                  <c:v>284889</c:v>
                </c:pt>
                <c:pt idx="396">
                  <c:v>284913</c:v>
                </c:pt>
                <c:pt idx="397">
                  <c:v>284933</c:v>
                </c:pt>
                <c:pt idx="398">
                  <c:v>284957</c:v>
                </c:pt>
                <c:pt idx="399">
                  <c:v>284978</c:v>
                </c:pt>
                <c:pt idx="400">
                  <c:v>285010</c:v>
                </c:pt>
                <c:pt idx="401">
                  <c:v>285012</c:v>
                </c:pt>
                <c:pt idx="402">
                  <c:v>285013</c:v>
                </c:pt>
                <c:pt idx="403">
                  <c:v>285027</c:v>
                </c:pt>
                <c:pt idx="404">
                  <c:v>285039</c:v>
                </c:pt>
                <c:pt idx="405">
                  <c:v>285050</c:v>
                </c:pt>
                <c:pt idx="406">
                  <c:v>285064</c:v>
                </c:pt>
                <c:pt idx="407">
                  <c:v>285088</c:v>
                </c:pt>
                <c:pt idx="408">
                  <c:v>285089</c:v>
                </c:pt>
                <c:pt idx="409">
                  <c:v>285090</c:v>
                </c:pt>
                <c:pt idx="410">
                  <c:v>285097</c:v>
                </c:pt>
                <c:pt idx="411">
                  <c:v>285106</c:v>
                </c:pt>
                <c:pt idx="412">
                  <c:v>285115</c:v>
                </c:pt>
                <c:pt idx="413">
                  <c:v>285120</c:v>
                </c:pt>
                <c:pt idx="414">
                  <c:v>285124</c:v>
                </c:pt>
                <c:pt idx="415">
                  <c:v>285126</c:v>
                </c:pt>
                <c:pt idx="416">
                  <c:v>285133</c:v>
                </c:pt>
                <c:pt idx="417">
                  <c:v>285135</c:v>
                </c:pt>
                <c:pt idx="418">
                  <c:v>285138</c:v>
                </c:pt>
                <c:pt idx="419">
                  <c:v>285142</c:v>
                </c:pt>
                <c:pt idx="420">
                  <c:v>2851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J$1:$PN$1</c:f>
              <c:strCache>
                <c:ptCount val="421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4.XII.21</c:v>
                </c:pt>
                <c:pt idx="362">
                  <c:v>27.XII.21</c:v>
                </c:pt>
                <c:pt idx="363">
                  <c:v>28.XII.21</c:v>
                </c:pt>
                <c:pt idx="364">
                  <c:v>29.XII.21</c:v>
                </c:pt>
                <c:pt idx="365">
                  <c:v>30.XII.21</c:v>
                </c:pt>
                <c:pt idx="366">
                  <c:v>31.XII.21</c:v>
                </c:pt>
                <c:pt idx="367">
                  <c:v>2.I.22</c:v>
                </c:pt>
                <c:pt idx="368">
                  <c:v>3.I.22</c:v>
                </c:pt>
                <c:pt idx="369">
                  <c:v>4.I.22</c:v>
                </c:pt>
                <c:pt idx="370">
                  <c:v>5.I.22</c:v>
                </c:pt>
                <c:pt idx="371">
                  <c:v>6.I.22</c:v>
                </c:pt>
                <c:pt idx="372">
                  <c:v>7.I.22</c:v>
                </c:pt>
                <c:pt idx="373">
                  <c:v>8.I.22</c:v>
                </c:pt>
                <c:pt idx="374">
                  <c:v>9.I.22</c:v>
                </c:pt>
                <c:pt idx="375">
                  <c:v>10.I.22</c:v>
                </c:pt>
                <c:pt idx="376">
                  <c:v>11.I.22</c:v>
                </c:pt>
                <c:pt idx="377">
                  <c:v>12.I.22</c:v>
                </c:pt>
                <c:pt idx="378">
                  <c:v>13.I.22</c:v>
                </c:pt>
                <c:pt idx="379">
                  <c:v>14.I.22</c:v>
                </c:pt>
                <c:pt idx="380">
                  <c:v>15.I.22</c:v>
                </c:pt>
                <c:pt idx="381">
                  <c:v>16.I.22</c:v>
                </c:pt>
                <c:pt idx="382">
                  <c:v>17.I.22</c:v>
                </c:pt>
                <c:pt idx="383">
                  <c:v>18.I.22</c:v>
                </c:pt>
                <c:pt idx="384">
                  <c:v>19.I.22</c:v>
                </c:pt>
                <c:pt idx="385">
                  <c:v>20.I.22</c:v>
                </c:pt>
                <c:pt idx="386">
                  <c:v>21.I.22</c:v>
                </c:pt>
                <c:pt idx="387">
                  <c:v>22.I.22</c:v>
                </c:pt>
                <c:pt idx="388">
                  <c:v>23.I.22</c:v>
                </c:pt>
                <c:pt idx="389">
                  <c:v>24.I.22</c:v>
                </c:pt>
                <c:pt idx="390">
                  <c:v>25.I.22</c:v>
                </c:pt>
                <c:pt idx="391">
                  <c:v>26.I.22</c:v>
                </c:pt>
                <c:pt idx="392">
                  <c:v>27.I.22</c:v>
                </c:pt>
                <c:pt idx="393">
                  <c:v>28.I.22</c:v>
                </c:pt>
                <c:pt idx="394">
                  <c:v>29.I.22</c:v>
                </c:pt>
                <c:pt idx="395">
                  <c:v>30.I.22</c:v>
                </c:pt>
                <c:pt idx="396">
                  <c:v>31.I.22</c:v>
                </c:pt>
                <c:pt idx="397">
                  <c:v>1.II.22</c:v>
                </c:pt>
                <c:pt idx="398">
                  <c:v>2.II.22</c:v>
                </c:pt>
                <c:pt idx="399">
                  <c:v>3.II.22</c:v>
                </c:pt>
                <c:pt idx="400">
                  <c:v>4.II.22</c:v>
                </c:pt>
                <c:pt idx="401">
                  <c:v>5.II.22</c:v>
                </c:pt>
                <c:pt idx="402">
                  <c:v>6.II.22</c:v>
                </c:pt>
                <c:pt idx="403">
                  <c:v>7.II.22</c:v>
                </c:pt>
                <c:pt idx="404">
                  <c:v>8.II.22</c:v>
                </c:pt>
                <c:pt idx="405">
                  <c:v>9.II.22</c:v>
                </c:pt>
                <c:pt idx="406">
                  <c:v>10.II.22</c:v>
                </c:pt>
                <c:pt idx="407">
                  <c:v>11.II.22</c:v>
                </c:pt>
                <c:pt idx="408">
                  <c:v>12.II.22</c:v>
                </c:pt>
                <c:pt idx="409">
                  <c:v>13.II.22</c:v>
                </c:pt>
                <c:pt idx="410">
                  <c:v>14.II.22</c:v>
                </c:pt>
                <c:pt idx="411">
                  <c:v>15.II.22</c:v>
                </c:pt>
                <c:pt idx="412">
                  <c:v>16.II.22</c:v>
                </c:pt>
                <c:pt idx="413">
                  <c:v>17.II.22</c:v>
                </c:pt>
                <c:pt idx="414">
                  <c:v>18.II.22</c:v>
                </c:pt>
                <c:pt idx="415">
                  <c:v>19.II.22</c:v>
                </c:pt>
                <c:pt idx="416">
                  <c:v>21.II.22</c:v>
                </c:pt>
                <c:pt idx="417">
                  <c:v>22.II.22</c:v>
                </c:pt>
                <c:pt idx="418">
                  <c:v>23.II.22</c:v>
                </c:pt>
                <c:pt idx="419">
                  <c:v>24.II.22</c:v>
                </c:pt>
                <c:pt idx="420">
                  <c:v>25.II.22</c:v>
                </c:pt>
              </c:strCache>
            </c:strRef>
          </c:cat>
          <c:val>
            <c:numRef>
              <c:f>List1!$J$3:$PN$3</c:f>
              <c:numCache>
                <c:formatCode>General</c:formatCode>
                <c:ptCount val="421"/>
                <c:pt idx="0">
                  <c:v>1122</c:v>
                </c:pt>
                <c:pt idx="1">
                  <c:v>2232</c:v>
                </c:pt>
                <c:pt idx="2">
                  <c:v>3368</c:v>
                </c:pt>
                <c:pt idx="3">
                  <c:v>3749</c:v>
                </c:pt>
                <c:pt idx="4">
                  <c:v>3868</c:v>
                </c:pt>
                <c:pt idx="5">
                  <c:v>4349</c:v>
                </c:pt>
                <c:pt idx="6">
                  <c:v>4667</c:v>
                </c:pt>
                <c:pt idx="7">
                  <c:v>6013</c:v>
                </c:pt>
                <c:pt idx="8">
                  <c:v>7656</c:v>
                </c:pt>
                <c:pt idx="9">
                  <c:v>9669</c:v>
                </c:pt>
                <c:pt idx="10">
                  <c:v>12225</c:v>
                </c:pt>
                <c:pt idx="11">
                  <c:v>15356</c:v>
                </c:pt>
                <c:pt idx="12">
                  <c:v>15802</c:v>
                </c:pt>
                <c:pt idx="13">
                  <c:v>16158</c:v>
                </c:pt>
                <c:pt idx="14">
                  <c:v>18957</c:v>
                </c:pt>
                <c:pt idx="15">
                  <c:v>22146</c:v>
                </c:pt>
                <c:pt idx="16">
                  <c:v>25012</c:v>
                </c:pt>
                <c:pt idx="17">
                  <c:v>28203</c:v>
                </c:pt>
                <c:pt idx="18">
                  <c:v>30985</c:v>
                </c:pt>
                <c:pt idx="19">
                  <c:v>31366</c:v>
                </c:pt>
                <c:pt idx="20">
                  <c:v>31593</c:v>
                </c:pt>
                <c:pt idx="21">
                  <c:v>33548</c:v>
                </c:pt>
                <c:pt idx="22">
                  <c:v>35237</c:v>
                </c:pt>
                <c:pt idx="23">
                  <c:v>36885</c:v>
                </c:pt>
                <c:pt idx="24">
                  <c:v>38420</c:v>
                </c:pt>
                <c:pt idx="25">
                  <c:v>39730</c:v>
                </c:pt>
                <c:pt idx="26">
                  <c:v>39886</c:v>
                </c:pt>
                <c:pt idx="27">
                  <c:v>39995</c:v>
                </c:pt>
                <c:pt idx="28">
                  <c:v>40640</c:v>
                </c:pt>
                <c:pt idx="29">
                  <c:v>41414</c:v>
                </c:pt>
                <c:pt idx="30">
                  <c:v>42068</c:v>
                </c:pt>
                <c:pt idx="31">
                  <c:v>42676</c:v>
                </c:pt>
                <c:pt idx="32">
                  <c:v>43240</c:v>
                </c:pt>
                <c:pt idx="33">
                  <c:v>43262</c:v>
                </c:pt>
                <c:pt idx="34">
                  <c:v>43280</c:v>
                </c:pt>
                <c:pt idx="35">
                  <c:v>43638</c:v>
                </c:pt>
                <c:pt idx="36">
                  <c:v>43980</c:v>
                </c:pt>
                <c:pt idx="37">
                  <c:v>44341</c:v>
                </c:pt>
                <c:pt idx="38">
                  <c:v>44671</c:v>
                </c:pt>
                <c:pt idx="39">
                  <c:v>45089</c:v>
                </c:pt>
                <c:pt idx="40">
                  <c:v>45111</c:v>
                </c:pt>
                <c:pt idx="41">
                  <c:v>45132</c:v>
                </c:pt>
                <c:pt idx="42">
                  <c:v>45401</c:v>
                </c:pt>
                <c:pt idx="43">
                  <c:v>45723</c:v>
                </c:pt>
                <c:pt idx="44">
                  <c:v>46126</c:v>
                </c:pt>
                <c:pt idx="45">
                  <c:v>46598</c:v>
                </c:pt>
                <c:pt idx="46">
                  <c:v>47130</c:v>
                </c:pt>
                <c:pt idx="47">
                  <c:v>47304</c:v>
                </c:pt>
                <c:pt idx="48">
                  <c:v>47358</c:v>
                </c:pt>
                <c:pt idx="49">
                  <c:v>47909</c:v>
                </c:pt>
                <c:pt idx="50">
                  <c:v>48397</c:v>
                </c:pt>
                <c:pt idx="51">
                  <c:v>48967</c:v>
                </c:pt>
                <c:pt idx="52">
                  <c:v>49636</c:v>
                </c:pt>
                <c:pt idx="53">
                  <c:v>50393</c:v>
                </c:pt>
                <c:pt idx="54">
                  <c:v>50523</c:v>
                </c:pt>
                <c:pt idx="55">
                  <c:v>50582</c:v>
                </c:pt>
                <c:pt idx="56">
                  <c:v>51178</c:v>
                </c:pt>
                <c:pt idx="57">
                  <c:v>51994</c:v>
                </c:pt>
                <c:pt idx="58">
                  <c:v>52818</c:v>
                </c:pt>
                <c:pt idx="59">
                  <c:v>54044</c:v>
                </c:pt>
                <c:pt idx="60">
                  <c:v>55034</c:v>
                </c:pt>
                <c:pt idx="61">
                  <c:v>55109</c:v>
                </c:pt>
                <c:pt idx="62">
                  <c:v>55157</c:v>
                </c:pt>
                <c:pt idx="63">
                  <c:v>56045</c:v>
                </c:pt>
                <c:pt idx="64">
                  <c:v>56997</c:v>
                </c:pt>
                <c:pt idx="65">
                  <c:v>57993</c:v>
                </c:pt>
                <c:pt idx="66">
                  <c:v>58904</c:v>
                </c:pt>
                <c:pt idx="67">
                  <c:v>60092</c:v>
                </c:pt>
                <c:pt idx="68">
                  <c:v>60342</c:v>
                </c:pt>
                <c:pt idx="69">
                  <c:v>60533</c:v>
                </c:pt>
                <c:pt idx="70">
                  <c:v>61311</c:v>
                </c:pt>
                <c:pt idx="71">
                  <c:v>62238</c:v>
                </c:pt>
                <c:pt idx="72">
                  <c:v>63186</c:v>
                </c:pt>
                <c:pt idx="73">
                  <c:v>64513</c:v>
                </c:pt>
                <c:pt idx="74">
                  <c:v>65617</c:v>
                </c:pt>
                <c:pt idx="75">
                  <c:v>65853</c:v>
                </c:pt>
                <c:pt idx="76">
                  <c:v>66096</c:v>
                </c:pt>
                <c:pt idx="77">
                  <c:v>66801</c:v>
                </c:pt>
                <c:pt idx="78">
                  <c:v>67843</c:v>
                </c:pt>
                <c:pt idx="79">
                  <c:v>68865</c:v>
                </c:pt>
                <c:pt idx="80">
                  <c:v>69760</c:v>
                </c:pt>
                <c:pt idx="81">
                  <c:v>70735</c:v>
                </c:pt>
                <c:pt idx="82">
                  <c:v>71095</c:v>
                </c:pt>
                <c:pt idx="83">
                  <c:v>71267</c:v>
                </c:pt>
                <c:pt idx="84">
                  <c:v>71800</c:v>
                </c:pt>
                <c:pt idx="85">
                  <c:v>72352</c:v>
                </c:pt>
                <c:pt idx="86">
                  <c:v>72858</c:v>
                </c:pt>
                <c:pt idx="87">
                  <c:v>73417</c:v>
                </c:pt>
                <c:pt idx="88">
                  <c:v>73998</c:v>
                </c:pt>
                <c:pt idx="89">
                  <c:v>74149</c:v>
                </c:pt>
                <c:pt idx="90">
                  <c:v>74316</c:v>
                </c:pt>
                <c:pt idx="91">
                  <c:v>74664</c:v>
                </c:pt>
                <c:pt idx="92">
                  <c:v>75111</c:v>
                </c:pt>
                <c:pt idx="93">
                  <c:v>75579</c:v>
                </c:pt>
                <c:pt idx="94">
                  <c:v>76034</c:v>
                </c:pt>
                <c:pt idx="95">
                  <c:v>76139</c:v>
                </c:pt>
                <c:pt idx="96">
                  <c:v>76181</c:v>
                </c:pt>
                <c:pt idx="97">
                  <c:v>76230</c:v>
                </c:pt>
                <c:pt idx="98">
                  <c:v>76266</c:v>
                </c:pt>
                <c:pt idx="99">
                  <c:v>76512</c:v>
                </c:pt>
                <c:pt idx="100">
                  <c:v>76830</c:v>
                </c:pt>
                <c:pt idx="101">
                  <c:v>77368</c:v>
                </c:pt>
                <c:pt idx="102">
                  <c:v>77942</c:v>
                </c:pt>
                <c:pt idx="103">
                  <c:v>78101</c:v>
                </c:pt>
                <c:pt idx="104">
                  <c:v>78202</c:v>
                </c:pt>
                <c:pt idx="105">
                  <c:v>78630</c:v>
                </c:pt>
                <c:pt idx="106">
                  <c:v>79010</c:v>
                </c:pt>
                <c:pt idx="107">
                  <c:v>79464</c:v>
                </c:pt>
                <c:pt idx="108">
                  <c:v>80124</c:v>
                </c:pt>
                <c:pt idx="109">
                  <c:v>80850</c:v>
                </c:pt>
                <c:pt idx="110">
                  <c:v>81054</c:v>
                </c:pt>
                <c:pt idx="111">
                  <c:v>81246</c:v>
                </c:pt>
                <c:pt idx="112">
                  <c:v>81768</c:v>
                </c:pt>
                <c:pt idx="113">
                  <c:v>82272</c:v>
                </c:pt>
                <c:pt idx="114">
                  <c:v>82930</c:v>
                </c:pt>
                <c:pt idx="115">
                  <c:v>83655</c:v>
                </c:pt>
                <c:pt idx="116">
                  <c:v>84366</c:v>
                </c:pt>
                <c:pt idx="117">
                  <c:v>84566</c:v>
                </c:pt>
                <c:pt idx="118">
                  <c:v>84754</c:v>
                </c:pt>
                <c:pt idx="119">
                  <c:v>85360</c:v>
                </c:pt>
                <c:pt idx="120">
                  <c:v>85907</c:v>
                </c:pt>
                <c:pt idx="121">
                  <c:v>86610</c:v>
                </c:pt>
                <c:pt idx="122">
                  <c:v>87366</c:v>
                </c:pt>
                <c:pt idx="123">
                  <c:v>88014</c:v>
                </c:pt>
                <c:pt idx="124">
                  <c:v>88168</c:v>
                </c:pt>
                <c:pt idx="125">
                  <c:v>88321</c:v>
                </c:pt>
                <c:pt idx="126">
                  <c:v>88830</c:v>
                </c:pt>
                <c:pt idx="127">
                  <c:v>89352</c:v>
                </c:pt>
                <c:pt idx="128">
                  <c:v>89877</c:v>
                </c:pt>
                <c:pt idx="129">
                  <c:v>90425</c:v>
                </c:pt>
                <c:pt idx="130">
                  <c:v>90997</c:v>
                </c:pt>
                <c:pt idx="131">
                  <c:v>91214</c:v>
                </c:pt>
                <c:pt idx="132">
                  <c:v>91321</c:v>
                </c:pt>
                <c:pt idx="133">
                  <c:v>91719</c:v>
                </c:pt>
                <c:pt idx="134">
                  <c:v>92198</c:v>
                </c:pt>
                <c:pt idx="135">
                  <c:v>92631</c:v>
                </c:pt>
                <c:pt idx="136">
                  <c:v>93067</c:v>
                </c:pt>
                <c:pt idx="137">
                  <c:v>93434</c:v>
                </c:pt>
                <c:pt idx="138">
                  <c:v>93596</c:v>
                </c:pt>
                <c:pt idx="139">
                  <c:v>93700</c:v>
                </c:pt>
                <c:pt idx="140">
                  <c:v>94016</c:v>
                </c:pt>
                <c:pt idx="141">
                  <c:v>94389</c:v>
                </c:pt>
                <c:pt idx="142">
                  <c:v>94750</c:v>
                </c:pt>
                <c:pt idx="143">
                  <c:v>95143</c:v>
                </c:pt>
                <c:pt idx="144">
                  <c:v>95508</c:v>
                </c:pt>
                <c:pt idx="145">
                  <c:v>95653</c:v>
                </c:pt>
                <c:pt idx="146">
                  <c:v>95751</c:v>
                </c:pt>
                <c:pt idx="147">
                  <c:v>95966</c:v>
                </c:pt>
                <c:pt idx="148">
                  <c:v>96205</c:v>
                </c:pt>
                <c:pt idx="149">
                  <c:v>96556</c:v>
                </c:pt>
                <c:pt idx="150">
                  <c:v>96884</c:v>
                </c:pt>
                <c:pt idx="151">
                  <c:v>97169</c:v>
                </c:pt>
                <c:pt idx="152">
                  <c:v>97312</c:v>
                </c:pt>
                <c:pt idx="153">
                  <c:v>97403</c:v>
                </c:pt>
                <c:pt idx="154">
                  <c:v>97681</c:v>
                </c:pt>
                <c:pt idx="155">
                  <c:v>97952</c:v>
                </c:pt>
                <c:pt idx="156">
                  <c:v>98296</c:v>
                </c:pt>
                <c:pt idx="157">
                  <c:v>98649</c:v>
                </c:pt>
                <c:pt idx="158">
                  <c:v>98974</c:v>
                </c:pt>
                <c:pt idx="159">
                  <c:v>99111</c:v>
                </c:pt>
                <c:pt idx="160">
                  <c:v>99240</c:v>
                </c:pt>
                <c:pt idx="161">
                  <c:v>99578</c:v>
                </c:pt>
                <c:pt idx="162">
                  <c:v>99918</c:v>
                </c:pt>
                <c:pt idx="163">
                  <c:v>100268</c:v>
                </c:pt>
                <c:pt idx="164">
                  <c:v>100630</c:v>
                </c:pt>
                <c:pt idx="165">
                  <c:v>100930</c:v>
                </c:pt>
                <c:pt idx="166">
                  <c:v>101138</c:v>
                </c:pt>
                <c:pt idx="167">
                  <c:v>101255</c:v>
                </c:pt>
                <c:pt idx="168">
                  <c:v>101499</c:v>
                </c:pt>
                <c:pt idx="169">
                  <c:v>101773</c:v>
                </c:pt>
                <c:pt idx="170">
                  <c:v>102014</c:v>
                </c:pt>
                <c:pt idx="171">
                  <c:v>102284</c:v>
                </c:pt>
                <c:pt idx="172">
                  <c:v>102501</c:v>
                </c:pt>
                <c:pt idx="173">
                  <c:v>102619</c:v>
                </c:pt>
                <c:pt idx="174">
                  <c:v>102713</c:v>
                </c:pt>
                <c:pt idx="175">
                  <c:v>102891</c:v>
                </c:pt>
                <c:pt idx="176">
                  <c:v>103112</c:v>
                </c:pt>
                <c:pt idx="177">
                  <c:v>103301</c:v>
                </c:pt>
                <c:pt idx="178">
                  <c:v>103462</c:v>
                </c:pt>
                <c:pt idx="179">
                  <c:v>103648</c:v>
                </c:pt>
                <c:pt idx="180">
                  <c:v>103739</c:v>
                </c:pt>
                <c:pt idx="181">
                  <c:v>103807</c:v>
                </c:pt>
                <c:pt idx="182">
                  <c:v>103988</c:v>
                </c:pt>
                <c:pt idx="183">
                  <c:v>104156</c:v>
                </c:pt>
                <c:pt idx="184">
                  <c:v>104337</c:v>
                </c:pt>
                <c:pt idx="185">
                  <c:v>104478</c:v>
                </c:pt>
                <c:pt idx="186">
                  <c:v>104671</c:v>
                </c:pt>
                <c:pt idx="187">
                  <c:v>104706</c:v>
                </c:pt>
                <c:pt idx="188">
                  <c:v>104751</c:v>
                </c:pt>
                <c:pt idx="189">
                  <c:v>104800</c:v>
                </c:pt>
                <c:pt idx="190">
                  <c:v>104832</c:v>
                </c:pt>
                <c:pt idx="191">
                  <c:v>104996</c:v>
                </c:pt>
                <c:pt idx="192">
                  <c:v>105174</c:v>
                </c:pt>
                <c:pt idx="193">
                  <c:v>105347</c:v>
                </c:pt>
                <c:pt idx="194">
                  <c:v>105407</c:v>
                </c:pt>
                <c:pt idx="195">
                  <c:v>105456</c:v>
                </c:pt>
                <c:pt idx="196">
                  <c:v>105618</c:v>
                </c:pt>
                <c:pt idx="197">
                  <c:v>105803</c:v>
                </c:pt>
                <c:pt idx="198">
                  <c:v>106006</c:v>
                </c:pt>
                <c:pt idx="199">
                  <c:v>106197</c:v>
                </c:pt>
                <c:pt idx="200">
                  <c:v>106380</c:v>
                </c:pt>
                <c:pt idx="201">
                  <c:v>106430</c:v>
                </c:pt>
                <c:pt idx="202">
                  <c:v>106488</c:v>
                </c:pt>
                <c:pt idx="203">
                  <c:v>106658</c:v>
                </c:pt>
                <c:pt idx="204">
                  <c:v>106807</c:v>
                </c:pt>
                <c:pt idx="205">
                  <c:v>106987</c:v>
                </c:pt>
                <c:pt idx="206">
                  <c:v>107165</c:v>
                </c:pt>
                <c:pt idx="207">
                  <c:v>107313</c:v>
                </c:pt>
                <c:pt idx="208">
                  <c:v>107357</c:v>
                </c:pt>
                <c:pt idx="209">
                  <c:v>107383</c:v>
                </c:pt>
                <c:pt idx="210">
                  <c:v>107551</c:v>
                </c:pt>
                <c:pt idx="211">
                  <c:v>107721</c:v>
                </c:pt>
                <c:pt idx="212">
                  <c:v>107873</c:v>
                </c:pt>
                <c:pt idx="213">
                  <c:v>108022</c:v>
                </c:pt>
                <c:pt idx="214">
                  <c:v>108187</c:v>
                </c:pt>
                <c:pt idx="215">
                  <c:v>108226</c:v>
                </c:pt>
                <c:pt idx="216">
                  <c:v>108266</c:v>
                </c:pt>
                <c:pt idx="217">
                  <c:v>108365</c:v>
                </c:pt>
                <c:pt idx="218">
                  <c:v>108477</c:v>
                </c:pt>
                <c:pt idx="219">
                  <c:v>108606</c:v>
                </c:pt>
                <c:pt idx="220">
                  <c:v>108715</c:v>
                </c:pt>
                <c:pt idx="221">
                  <c:v>108834</c:v>
                </c:pt>
                <c:pt idx="222">
                  <c:v>108856</c:v>
                </c:pt>
                <c:pt idx="223">
                  <c:v>108881</c:v>
                </c:pt>
                <c:pt idx="224">
                  <c:v>108966</c:v>
                </c:pt>
                <c:pt idx="225">
                  <c:v>109045</c:v>
                </c:pt>
                <c:pt idx="226">
                  <c:v>109115</c:v>
                </c:pt>
                <c:pt idx="227">
                  <c:v>109221</c:v>
                </c:pt>
                <c:pt idx="228">
                  <c:v>109284</c:v>
                </c:pt>
                <c:pt idx="229">
                  <c:v>109305</c:v>
                </c:pt>
                <c:pt idx="230">
                  <c:v>109327</c:v>
                </c:pt>
                <c:pt idx="231">
                  <c:v>109410</c:v>
                </c:pt>
                <c:pt idx="232">
                  <c:v>109489</c:v>
                </c:pt>
                <c:pt idx="233">
                  <c:v>109551</c:v>
                </c:pt>
                <c:pt idx="234">
                  <c:v>109621</c:v>
                </c:pt>
                <c:pt idx="235">
                  <c:v>109736</c:v>
                </c:pt>
                <c:pt idx="236">
                  <c:v>109750</c:v>
                </c:pt>
                <c:pt idx="237">
                  <c:v>109761</c:v>
                </c:pt>
                <c:pt idx="238">
                  <c:v>109857</c:v>
                </c:pt>
                <c:pt idx="239">
                  <c:v>109945</c:v>
                </c:pt>
                <c:pt idx="240">
                  <c:v>110011</c:v>
                </c:pt>
                <c:pt idx="241">
                  <c:v>110083</c:v>
                </c:pt>
                <c:pt idx="242">
                  <c:v>110171</c:v>
                </c:pt>
                <c:pt idx="243">
                  <c:v>110187</c:v>
                </c:pt>
                <c:pt idx="244">
                  <c:v>110203</c:v>
                </c:pt>
                <c:pt idx="245">
                  <c:v>110275</c:v>
                </c:pt>
                <c:pt idx="246">
                  <c:v>110336</c:v>
                </c:pt>
                <c:pt idx="247">
                  <c:v>110393</c:v>
                </c:pt>
                <c:pt idx="248">
                  <c:v>110467</c:v>
                </c:pt>
                <c:pt idx="249">
                  <c:v>110543</c:v>
                </c:pt>
                <c:pt idx="250">
                  <c:v>110555</c:v>
                </c:pt>
                <c:pt idx="251">
                  <c:v>110565</c:v>
                </c:pt>
                <c:pt idx="252">
                  <c:v>110624</c:v>
                </c:pt>
                <c:pt idx="253">
                  <c:v>110666</c:v>
                </c:pt>
                <c:pt idx="254">
                  <c:v>110716</c:v>
                </c:pt>
                <c:pt idx="255">
                  <c:v>110772</c:v>
                </c:pt>
                <c:pt idx="256">
                  <c:v>110823</c:v>
                </c:pt>
                <c:pt idx="257">
                  <c:v>110840</c:v>
                </c:pt>
                <c:pt idx="258">
                  <c:v>110847</c:v>
                </c:pt>
                <c:pt idx="259">
                  <c:v>110891</c:v>
                </c:pt>
                <c:pt idx="260">
                  <c:v>110954</c:v>
                </c:pt>
                <c:pt idx="261">
                  <c:v>111003</c:v>
                </c:pt>
                <c:pt idx="262">
                  <c:v>111060</c:v>
                </c:pt>
                <c:pt idx="263">
                  <c:v>111127</c:v>
                </c:pt>
                <c:pt idx="264">
                  <c:v>111144</c:v>
                </c:pt>
                <c:pt idx="265">
                  <c:v>111151</c:v>
                </c:pt>
                <c:pt idx="266">
                  <c:v>111189</c:v>
                </c:pt>
                <c:pt idx="267">
                  <c:v>111238</c:v>
                </c:pt>
                <c:pt idx="268">
                  <c:v>111281</c:v>
                </c:pt>
                <c:pt idx="269">
                  <c:v>111334</c:v>
                </c:pt>
                <c:pt idx="270">
                  <c:v>111406</c:v>
                </c:pt>
                <c:pt idx="271">
                  <c:v>111416</c:v>
                </c:pt>
                <c:pt idx="272">
                  <c:v>111420</c:v>
                </c:pt>
                <c:pt idx="273">
                  <c:v>111463</c:v>
                </c:pt>
                <c:pt idx="274">
                  <c:v>111465</c:v>
                </c:pt>
                <c:pt idx="275">
                  <c:v>111506</c:v>
                </c:pt>
                <c:pt idx="276">
                  <c:v>111545</c:v>
                </c:pt>
                <c:pt idx="277">
                  <c:v>111579</c:v>
                </c:pt>
                <c:pt idx="278">
                  <c:v>111586</c:v>
                </c:pt>
                <c:pt idx="279">
                  <c:v>111593</c:v>
                </c:pt>
                <c:pt idx="280">
                  <c:v>111621</c:v>
                </c:pt>
                <c:pt idx="281">
                  <c:v>111668</c:v>
                </c:pt>
                <c:pt idx="282">
                  <c:v>111717</c:v>
                </c:pt>
                <c:pt idx="283">
                  <c:v>111745</c:v>
                </c:pt>
                <c:pt idx="284">
                  <c:v>111795</c:v>
                </c:pt>
                <c:pt idx="285">
                  <c:v>111805</c:v>
                </c:pt>
                <c:pt idx="286">
                  <c:v>111810</c:v>
                </c:pt>
                <c:pt idx="287">
                  <c:v>111839</c:v>
                </c:pt>
                <c:pt idx="288">
                  <c:v>111860</c:v>
                </c:pt>
                <c:pt idx="289">
                  <c:v>111897</c:v>
                </c:pt>
                <c:pt idx="290">
                  <c:v>111928</c:v>
                </c:pt>
                <c:pt idx="291">
                  <c:v>111974</c:v>
                </c:pt>
                <c:pt idx="292">
                  <c:v>111986</c:v>
                </c:pt>
                <c:pt idx="293">
                  <c:v>112003</c:v>
                </c:pt>
                <c:pt idx="294">
                  <c:v>112055</c:v>
                </c:pt>
                <c:pt idx="295">
                  <c:v>112111</c:v>
                </c:pt>
                <c:pt idx="296">
                  <c:v>112170</c:v>
                </c:pt>
                <c:pt idx="297">
                  <c:v>112284</c:v>
                </c:pt>
                <c:pt idx="298">
                  <c:v>112408</c:v>
                </c:pt>
                <c:pt idx="299">
                  <c:v>112434</c:v>
                </c:pt>
                <c:pt idx="300">
                  <c:v>112458</c:v>
                </c:pt>
                <c:pt idx="301">
                  <c:v>112582</c:v>
                </c:pt>
                <c:pt idx="302">
                  <c:v>112750</c:v>
                </c:pt>
                <c:pt idx="303">
                  <c:v>112952</c:v>
                </c:pt>
                <c:pt idx="304">
                  <c:v>112989</c:v>
                </c:pt>
                <c:pt idx="305">
                  <c:v>113153</c:v>
                </c:pt>
                <c:pt idx="306">
                  <c:v>113199</c:v>
                </c:pt>
                <c:pt idx="307">
                  <c:v>113231</c:v>
                </c:pt>
                <c:pt idx="308">
                  <c:v>113399</c:v>
                </c:pt>
                <c:pt idx="309">
                  <c:v>113600</c:v>
                </c:pt>
                <c:pt idx="310">
                  <c:v>113791</c:v>
                </c:pt>
                <c:pt idx="311">
                  <c:v>114024</c:v>
                </c:pt>
                <c:pt idx="312">
                  <c:v>114273</c:v>
                </c:pt>
                <c:pt idx="313">
                  <c:v>114331</c:v>
                </c:pt>
                <c:pt idx="314">
                  <c:v>114369</c:v>
                </c:pt>
                <c:pt idx="315">
                  <c:v>114555</c:v>
                </c:pt>
                <c:pt idx="316">
                  <c:v>114710</c:v>
                </c:pt>
                <c:pt idx="317">
                  <c:v>114898</c:v>
                </c:pt>
                <c:pt idx="318">
                  <c:v>115075</c:v>
                </c:pt>
                <c:pt idx="319">
                  <c:v>115280</c:v>
                </c:pt>
                <c:pt idx="320">
                  <c:v>115339</c:v>
                </c:pt>
                <c:pt idx="321">
                  <c:v>115378</c:v>
                </c:pt>
                <c:pt idx="322">
                  <c:v>115568</c:v>
                </c:pt>
                <c:pt idx="323">
                  <c:v>115771</c:v>
                </c:pt>
                <c:pt idx="324">
                  <c:v>115821</c:v>
                </c:pt>
                <c:pt idx="325">
                  <c:v>116045</c:v>
                </c:pt>
                <c:pt idx="326">
                  <c:v>116322</c:v>
                </c:pt>
                <c:pt idx="327">
                  <c:v>116413</c:v>
                </c:pt>
                <c:pt idx="328">
                  <c:v>116480</c:v>
                </c:pt>
                <c:pt idx="329">
                  <c:v>116666</c:v>
                </c:pt>
                <c:pt idx="330">
                  <c:v>116845</c:v>
                </c:pt>
                <c:pt idx="331">
                  <c:v>117070</c:v>
                </c:pt>
                <c:pt idx="332">
                  <c:v>117285</c:v>
                </c:pt>
                <c:pt idx="333">
                  <c:v>117521</c:v>
                </c:pt>
                <c:pt idx="334">
                  <c:v>117583</c:v>
                </c:pt>
                <c:pt idx="335">
                  <c:v>117606</c:v>
                </c:pt>
                <c:pt idx="336">
                  <c:v>117756</c:v>
                </c:pt>
                <c:pt idx="337">
                  <c:v>117915</c:v>
                </c:pt>
                <c:pt idx="338">
                  <c:v>118070</c:v>
                </c:pt>
                <c:pt idx="339">
                  <c:v>118186</c:v>
                </c:pt>
                <c:pt idx="340">
                  <c:v>118300</c:v>
                </c:pt>
                <c:pt idx="341">
                  <c:v>118327</c:v>
                </c:pt>
                <c:pt idx="342">
                  <c:v>118338</c:v>
                </c:pt>
                <c:pt idx="343">
                  <c:v>118438</c:v>
                </c:pt>
                <c:pt idx="344">
                  <c:v>118523</c:v>
                </c:pt>
                <c:pt idx="345">
                  <c:v>118620</c:v>
                </c:pt>
                <c:pt idx="346">
                  <c:v>118695</c:v>
                </c:pt>
                <c:pt idx="347">
                  <c:v>118777</c:v>
                </c:pt>
                <c:pt idx="348">
                  <c:v>118791</c:v>
                </c:pt>
                <c:pt idx="349">
                  <c:v>118802</c:v>
                </c:pt>
                <c:pt idx="350">
                  <c:v>118888</c:v>
                </c:pt>
                <c:pt idx="351">
                  <c:v>118950</c:v>
                </c:pt>
                <c:pt idx="352">
                  <c:v>119030</c:v>
                </c:pt>
                <c:pt idx="353">
                  <c:v>119111</c:v>
                </c:pt>
                <c:pt idx="354">
                  <c:v>119195</c:v>
                </c:pt>
                <c:pt idx="355">
                  <c:v>119220</c:v>
                </c:pt>
                <c:pt idx="356">
                  <c:v>119224</c:v>
                </c:pt>
                <c:pt idx="357">
                  <c:v>119282</c:v>
                </c:pt>
                <c:pt idx="358">
                  <c:v>119322</c:v>
                </c:pt>
                <c:pt idx="359">
                  <c:v>119361</c:v>
                </c:pt>
                <c:pt idx="360">
                  <c:v>119381</c:v>
                </c:pt>
                <c:pt idx="361">
                  <c:v>119381</c:v>
                </c:pt>
                <c:pt idx="362">
                  <c:v>119408</c:v>
                </c:pt>
                <c:pt idx="363">
                  <c:v>119444</c:v>
                </c:pt>
                <c:pt idx="364">
                  <c:v>119483</c:v>
                </c:pt>
                <c:pt idx="365">
                  <c:v>119516</c:v>
                </c:pt>
                <c:pt idx="366">
                  <c:v>119519</c:v>
                </c:pt>
                <c:pt idx="367">
                  <c:v>119522</c:v>
                </c:pt>
                <c:pt idx="368">
                  <c:v>119568</c:v>
                </c:pt>
                <c:pt idx="369">
                  <c:v>119599</c:v>
                </c:pt>
                <c:pt idx="370">
                  <c:v>119658</c:v>
                </c:pt>
                <c:pt idx="371">
                  <c:v>119713</c:v>
                </c:pt>
                <c:pt idx="372">
                  <c:v>119799</c:v>
                </c:pt>
                <c:pt idx="373">
                  <c:v>119807</c:v>
                </c:pt>
                <c:pt idx="374">
                  <c:v>119812</c:v>
                </c:pt>
                <c:pt idx="375">
                  <c:v>119852</c:v>
                </c:pt>
                <c:pt idx="376">
                  <c:v>119902</c:v>
                </c:pt>
                <c:pt idx="377">
                  <c:v>119950</c:v>
                </c:pt>
                <c:pt idx="378">
                  <c:v>120009</c:v>
                </c:pt>
                <c:pt idx="379">
                  <c:v>120093</c:v>
                </c:pt>
                <c:pt idx="380">
                  <c:v>120107</c:v>
                </c:pt>
                <c:pt idx="381">
                  <c:v>120113</c:v>
                </c:pt>
                <c:pt idx="382">
                  <c:v>120159</c:v>
                </c:pt>
                <c:pt idx="383">
                  <c:v>120208</c:v>
                </c:pt>
                <c:pt idx="384">
                  <c:v>120247</c:v>
                </c:pt>
                <c:pt idx="385">
                  <c:v>120276</c:v>
                </c:pt>
                <c:pt idx="386">
                  <c:v>120313</c:v>
                </c:pt>
                <c:pt idx="387">
                  <c:v>120316</c:v>
                </c:pt>
                <c:pt idx="388">
                  <c:v>120319</c:v>
                </c:pt>
                <c:pt idx="389">
                  <c:v>120334</c:v>
                </c:pt>
                <c:pt idx="390">
                  <c:v>120351</c:v>
                </c:pt>
                <c:pt idx="391">
                  <c:v>120367</c:v>
                </c:pt>
                <c:pt idx="392">
                  <c:v>120385</c:v>
                </c:pt>
                <c:pt idx="393">
                  <c:v>120414</c:v>
                </c:pt>
                <c:pt idx="394">
                  <c:v>120421</c:v>
                </c:pt>
                <c:pt idx="395">
                  <c:v>120422</c:v>
                </c:pt>
                <c:pt idx="396">
                  <c:v>120434</c:v>
                </c:pt>
                <c:pt idx="397">
                  <c:v>120442</c:v>
                </c:pt>
                <c:pt idx="398">
                  <c:v>120452</c:v>
                </c:pt>
                <c:pt idx="399">
                  <c:v>120462</c:v>
                </c:pt>
                <c:pt idx="400">
                  <c:v>120478</c:v>
                </c:pt>
                <c:pt idx="401">
                  <c:v>120479</c:v>
                </c:pt>
                <c:pt idx="402">
                  <c:v>120479</c:v>
                </c:pt>
                <c:pt idx="403">
                  <c:v>120485</c:v>
                </c:pt>
                <c:pt idx="404">
                  <c:v>120488</c:v>
                </c:pt>
                <c:pt idx="405">
                  <c:v>120491</c:v>
                </c:pt>
                <c:pt idx="406">
                  <c:v>120498</c:v>
                </c:pt>
                <c:pt idx="407">
                  <c:v>120504</c:v>
                </c:pt>
                <c:pt idx="408">
                  <c:v>120504</c:v>
                </c:pt>
                <c:pt idx="409">
                  <c:v>120504</c:v>
                </c:pt>
                <c:pt idx="410">
                  <c:v>120508</c:v>
                </c:pt>
                <c:pt idx="411">
                  <c:v>120512</c:v>
                </c:pt>
                <c:pt idx="412">
                  <c:v>120514</c:v>
                </c:pt>
                <c:pt idx="413">
                  <c:v>120517</c:v>
                </c:pt>
                <c:pt idx="414">
                  <c:v>120519</c:v>
                </c:pt>
                <c:pt idx="415">
                  <c:v>120519</c:v>
                </c:pt>
                <c:pt idx="416">
                  <c:v>120523</c:v>
                </c:pt>
                <c:pt idx="417">
                  <c:v>120523</c:v>
                </c:pt>
                <c:pt idx="418">
                  <c:v>120525</c:v>
                </c:pt>
                <c:pt idx="419">
                  <c:v>120529</c:v>
                </c:pt>
                <c:pt idx="420">
                  <c:v>1205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J$1:$PN$1</c:f>
              <c:strCache>
                <c:ptCount val="421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4.XII.21</c:v>
                </c:pt>
                <c:pt idx="362">
                  <c:v>27.XII.21</c:v>
                </c:pt>
                <c:pt idx="363">
                  <c:v>28.XII.21</c:v>
                </c:pt>
                <c:pt idx="364">
                  <c:v>29.XII.21</c:v>
                </c:pt>
                <c:pt idx="365">
                  <c:v>30.XII.21</c:v>
                </c:pt>
                <c:pt idx="366">
                  <c:v>31.XII.21</c:v>
                </c:pt>
                <c:pt idx="367">
                  <c:v>2.I.22</c:v>
                </c:pt>
                <c:pt idx="368">
                  <c:v>3.I.22</c:v>
                </c:pt>
                <c:pt idx="369">
                  <c:v>4.I.22</c:v>
                </c:pt>
                <c:pt idx="370">
                  <c:v>5.I.22</c:v>
                </c:pt>
                <c:pt idx="371">
                  <c:v>6.I.22</c:v>
                </c:pt>
                <c:pt idx="372">
                  <c:v>7.I.22</c:v>
                </c:pt>
                <c:pt idx="373">
                  <c:v>8.I.22</c:v>
                </c:pt>
                <c:pt idx="374">
                  <c:v>9.I.22</c:v>
                </c:pt>
                <c:pt idx="375">
                  <c:v>10.I.22</c:v>
                </c:pt>
                <c:pt idx="376">
                  <c:v>11.I.22</c:v>
                </c:pt>
                <c:pt idx="377">
                  <c:v>12.I.22</c:v>
                </c:pt>
                <c:pt idx="378">
                  <c:v>13.I.22</c:v>
                </c:pt>
                <c:pt idx="379">
                  <c:v>14.I.22</c:v>
                </c:pt>
                <c:pt idx="380">
                  <c:v>15.I.22</c:v>
                </c:pt>
                <c:pt idx="381">
                  <c:v>16.I.22</c:v>
                </c:pt>
                <c:pt idx="382">
                  <c:v>17.I.22</c:v>
                </c:pt>
                <c:pt idx="383">
                  <c:v>18.I.22</c:v>
                </c:pt>
                <c:pt idx="384">
                  <c:v>19.I.22</c:v>
                </c:pt>
                <c:pt idx="385">
                  <c:v>20.I.22</c:v>
                </c:pt>
                <c:pt idx="386">
                  <c:v>21.I.22</c:v>
                </c:pt>
                <c:pt idx="387">
                  <c:v>22.I.22</c:v>
                </c:pt>
                <c:pt idx="388">
                  <c:v>23.I.22</c:v>
                </c:pt>
                <c:pt idx="389">
                  <c:v>24.I.22</c:v>
                </c:pt>
                <c:pt idx="390">
                  <c:v>25.I.22</c:v>
                </c:pt>
                <c:pt idx="391">
                  <c:v>26.I.22</c:v>
                </c:pt>
                <c:pt idx="392">
                  <c:v>27.I.22</c:v>
                </c:pt>
                <c:pt idx="393">
                  <c:v>28.I.22</c:v>
                </c:pt>
                <c:pt idx="394">
                  <c:v>29.I.22</c:v>
                </c:pt>
                <c:pt idx="395">
                  <c:v>30.I.22</c:v>
                </c:pt>
                <c:pt idx="396">
                  <c:v>31.I.22</c:v>
                </c:pt>
                <c:pt idx="397">
                  <c:v>1.II.22</c:v>
                </c:pt>
                <c:pt idx="398">
                  <c:v>2.II.22</c:v>
                </c:pt>
                <c:pt idx="399">
                  <c:v>3.II.22</c:v>
                </c:pt>
                <c:pt idx="400">
                  <c:v>4.II.22</c:v>
                </c:pt>
                <c:pt idx="401">
                  <c:v>5.II.22</c:v>
                </c:pt>
                <c:pt idx="402">
                  <c:v>6.II.22</c:v>
                </c:pt>
                <c:pt idx="403">
                  <c:v>7.II.22</c:v>
                </c:pt>
                <c:pt idx="404">
                  <c:v>8.II.22</c:v>
                </c:pt>
                <c:pt idx="405">
                  <c:v>9.II.22</c:v>
                </c:pt>
                <c:pt idx="406">
                  <c:v>10.II.22</c:v>
                </c:pt>
                <c:pt idx="407">
                  <c:v>11.II.22</c:v>
                </c:pt>
                <c:pt idx="408">
                  <c:v>12.II.22</c:v>
                </c:pt>
                <c:pt idx="409">
                  <c:v>13.II.22</c:v>
                </c:pt>
                <c:pt idx="410">
                  <c:v>14.II.22</c:v>
                </c:pt>
                <c:pt idx="411">
                  <c:v>15.II.22</c:v>
                </c:pt>
                <c:pt idx="412">
                  <c:v>16.II.22</c:v>
                </c:pt>
                <c:pt idx="413">
                  <c:v>17.II.22</c:v>
                </c:pt>
                <c:pt idx="414">
                  <c:v>18.II.22</c:v>
                </c:pt>
                <c:pt idx="415">
                  <c:v>19.II.22</c:v>
                </c:pt>
                <c:pt idx="416">
                  <c:v>21.II.22</c:v>
                </c:pt>
                <c:pt idx="417">
                  <c:v>22.II.22</c:v>
                </c:pt>
                <c:pt idx="418">
                  <c:v>23.II.22</c:v>
                </c:pt>
                <c:pt idx="419">
                  <c:v>24.II.22</c:v>
                </c:pt>
                <c:pt idx="420">
                  <c:v>25.II.22</c:v>
                </c:pt>
              </c:strCache>
            </c:strRef>
          </c:cat>
          <c:val>
            <c:numRef>
              <c:f>List1!$J$4:$PN$4</c:f>
              <c:numCache>
                <c:formatCode>General</c:formatCode>
                <c:ptCount val="421"/>
                <c:pt idx="0">
                  <c:v>640</c:v>
                </c:pt>
                <c:pt idx="1">
                  <c:v>1248</c:v>
                </c:pt>
                <c:pt idx="2">
                  <c:v>1873</c:v>
                </c:pt>
                <c:pt idx="3">
                  <c:v>2046</c:v>
                </c:pt>
                <c:pt idx="4">
                  <c:v>2075</c:v>
                </c:pt>
                <c:pt idx="5">
                  <c:v>2363</c:v>
                </c:pt>
                <c:pt idx="6">
                  <c:v>2574</c:v>
                </c:pt>
                <c:pt idx="7">
                  <c:v>3201</c:v>
                </c:pt>
                <c:pt idx="8">
                  <c:v>4163</c:v>
                </c:pt>
                <c:pt idx="9">
                  <c:v>5581</c:v>
                </c:pt>
                <c:pt idx="10">
                  <c:v>7181</c:v>
                </c:pt>
                <c:pt idx="11">
                  <c:v>9028</c:v>
                </c:pt>
                <c:pt idx="12">
                  <c:v>9336</c:v>
                </c:pt>
                <c:pt idx="13">
                  <c:v>9645</c:v>
                </c:pt>
                <c:pt idx="14">
                  <c:v>11512</c:v>
                </c:pt>
                <c:pt idx="15">
                  <c:v>13794</c:v>
                </c:pt>
                <c:pt idx="16">
                  <c:v>15836</c:v>
                </c:pt>
                <c:pt idx="17">
                  <c:v>17725</c:v>
                </c:pt>
                <c:pt idx="18">
                  <c:v>19336</c:v>
                </c:pt>
                <c:pt idx="19">
                  <c:v>19556</c:v>
                </c:pt>
                <c:pt idx="20">
                  <c:v>19652</c:v>
                </c:pt>
                <c:pt idx="21">
                  <c:v>20827</c:v>
                </c:pt>
                <c:pt idx="22">
                  <c:v>21760</c:v>
                </c:pt>
                <c:pt idx="23">
                  <c:v>22704</c:v>
                </c:pt>
                <c:pt idx="24">
                  <c:v>23562</c:v>
                </c:pt>
                <c:pt idx="25">
                  <c:v>24314</c:v>
                </c:pt>
                <c:pt idx="26">
                  <c:v>24378</c:v>
                </c:pt>
                <c:pt idx="27">
                  <c:v>24423</c:v>
                </c:pt>
                <c:pt idx="28">
                  <c:v>24874</c:v>
                </c:pt>
                <c:pt idx="29">
                  <c:v>25327</c:v>
                </c:pt>
                <c:pt idx="30">
                  <c:v>25723</c:v>
                </c:pt>
                <c:pt idx="31">
                  <c:v>26126</c:v>
                </c:pt>
                <c:pt idx="32">
                  <c:v>26510</c:v>
                </c:pt>
                <c:pt idx="33">
                  <c:v>26534</c:v>
                </c:pt>
                <c:pt idx="34">
                  <c:v>26566</c:v>
                </c:pt>
                <c:pt idx="35">
                  <c:v>26858</c:v>
                </c:pt>
                <c:pt idx="36">
                  <c:v>27148</c:v>
                </c:pt>
                <c:pt idx="37">
                  <c:v>27380</c:v>
                </c:pt>
                <c:pt idx="38">
                  <c:v>27564</c:v>
                </c:pt>
                <c:pt idx="39">
                  <c:v>27799</c:v>
                </c:pt>
                <c:pt idx="40">
                  <c:v>27808</c:v>
                </c:pt>
                <c:pt idx="41">
                  <c:v>27826</c:v>
                </c:pt>
                <c:pt idx="42">
                  <c:v>28063</c:v>
                </c:pt>
                <c:pt idx="43">
                  <c:v>28258</c:v>
                </c:pt>
                <c:pt idx="44">
                  <c:v>28525</c:v>
                </c:pt>
                <c:pt idx="45">
                  <c:v>28876</c:v>
                </c:pt>
                <c:pt idx="46">
                  <c:v>29268</c:v>
                </c:pt>
                <c:pt idx="47">
                  <c:v>29380</c:v>
                </c:pt>
                <c:pt idx="48">
                  <c:v>29446</c:v>
                </c:pt>
                <c:pt idx="49">
                  <c:v>29861</c:v>
                </c:pt>
                <c:pt idx="50">
                  <c:v>30367</c:v>
                </c:pt>
                <c:pt idx="51">
                  <c:v>30912</c:v>
                </c:pt>
                <c:pt idx="52">
                  <c:v>31469</c:v>
                </c:pt>
                <c:pt idx="53">
                  <c:v>32123</c:v>
                </c:pt>
                <c:pt idx="54">
                  <c:v>32348</c:v>
                </c:pt>
                <c:pt idx="55">
                  <c:v>32405</c:v>
                </c:pt>
                <c:pt idx="56">
                  <c:v>33090</c:v>
                </c:pt>
                <c:pt idx="57">
                  <c:v>34091</c:v>
                </c:pt>
                <c:pt idx="58">
                  <c:v>35169</c:v>
                </c:pt>
                <c:pt idx="59">
                  <c:v>36321</c:v>
                </c:pt>
                <c:pt idx="60">
                  <c:v>37393</c:v>
                </c:pt>
                <c:pt idx="61">
                  <c:v>37552</c:v>
                </c:pt>
                <c:pt idx="62">
                  <c:v>37682</c:v>
                </c:pt>
                <c:pt idx="63">
                  <c:v>38795</c:v>
                </c:pt>
                <c:pt idx="64">
                  <c:v>40004</c:v>
                </c:pt>
                <c:pt idx="65">
                  <c:v>41116</c:v>
                </c:pt>
                <c:pt idx="66">
                  <c:v>42118</c:v>
                </c:pt>
                <c:pt idx="67">
                  <c:v>43305</c:v>
                </c:pt>
                <c:pt idx="68">
                  <c:v>43595</c:v>
                </c:pt>
                <c:pt idx="69">
                  <c:v>43810</c:v>
                </c:pt>
                <c:pt idx="70">
                  <c:v>44653</c:v>
                </c:pt>
                <c:pt idx="71">
                  <c:v>45475</c:v>
                </c:pt>
                <c:pt idx="72">
                  <c:v>46373</c:v>
                </c:pt>
                <c:pt idx="73">
                  <c:v>47571</c:v>
                </c:pt>
                <c:pt idx="74">
                  <c:v>48683</c:v>
                </c:pt>
                <c:pt idx="75">
                  <c:v>48967</c:v>
                </c:pt>
                <c:pt idx="76">
                  <c:v>49208</c:v>
                </c:pt>
                <c:pt idx="77">
                  <c:v>49840</c:v>
                </c:pt>
                <c:pt idx="78">
                  <c:v>50768</c:v>
                </c:pt>
                <c:pt idx="79">
                  <c:v>51707</c:v>
                </c:pt>
                <c:pt idx="80">
                  <c:v>52485</c:v>
                </c:pt>
                <c:pt idx="81">
                  <c:v>53442</c:v>
                </c:pt>
                <c:pt idx="82">
                  <c:v>53842</c:v>
                </c:pt>
                <c:pt idx="83">
                  <c:v>54047</c:v>
                </c:pt>
                <c:pt idx="84">
                  <c:v>54496</c:v>
                </c:pt>
                <c:pt idx="85">
                  <c:v>54991</c:v>
                </c:pt>
                <c:pt idx="86">
                  <c:v>55408</c:v>
                </c:pt>
                <c:pt idx="87">
                  <c:v>55953</c:v>
                </c:pt>
                <c:pt idx="88">
                  <c:v>56531</c:v>
                </c:pt>
                <c:pt idx="89">
                  <c:v>56691</c:v>
                </c:pt>
                <c:pt idx="90">
                  <c:v>56827</c:v>
                </c:pt>
                <c:pt idx="91">
                  <c:v>57137</c:v>
                </c:pt>
                <c:pt idx="92">
                  <c:v>57559</c:v>
                </c:pt>
                <c:pt idx="93">
                  <c:v>58054</c:v>
                </c:pt>
                <c:pt idx="94">
                  <c:v>58484</c:v>
                </c:pt>
                <c:pt idx="95">
                  <c:v>58571</c:v>
                </c:pt>
                <c:pt idx="96">
                  <c:v>58629</c:v>
                </c:pt>
                <c:pt idx="97">
                  <c:v>58667</c:v>
                </c:pt>
                <c:pt idx="98">
                  <c:v>58696</c:v>
                </c:pt>
                <c:pt idx="99">
                  <c:v>58926</c:v>
                </c:pt>
                <c:pt idx="100">
                  <c:v>59190</c:v>
                </c:pt>
                <c:pt idx="101">
                  <c:v>59730</c:v>
                </c:pt>
                <c:pt idx="102">
                  <c:v>60233</c:v>
                </c:pt>
                <c:pt idx="103">
                  <c:v>60406</c:v>
                </c:pt>
                <c:pt idx="104">
                  <c:v>60522</c:v>
                </c:pt>
                <c:pt idx="105">
                  <c:v>60900</c:v>
                </c:pt>
                <c:pt idx="106">
                  <c:v>61213</c:v>
                </c:pt>
                <c:pt idx="107">
                  <c:v>61598</c:v>
                </c:pt>
                <c:pt idx="108">
                  <c:v>62150</c:v>
                </c:pt>
                <c:pt idx="109">
                  <c:v>62798</c:v>
                </c:pt>
                <c:pt idx="110">
                  <c:v>62976</c:v>
                </c:pt>
                <c:pt idx="111">
                  <c:v>63170</c:v>
                </c:pt>
                <c:pt idx="112">
                  <c:v>63627</c:v>
                </c:pt>
                <c:pt idx="113">
                  <c:v>64053</c:v>
                </c:pt>
                <c:pt idx="114">
                  <c:v>64553</c:v>
                </c:pt>
                <c:pt idx="115">
                  <c:v>65154</c:v>
                </c:pt>
                <c:pt idx="116">
                  <c:v>65801</c:v>
                </c:pt>
                <c:pt idx="117">
                  <c:v>65986</c:v>
                </c:pt>
                <c:pt idx="118">
                  <c:v>66137</c:v>
                </c:pt>
                <c:pt idx="119">
                  <c:v>66618</c:v>
                </c:pt>
                <c:pt idx="120">
                  <c:v>67041</c:v>
                </c:pt>
                <c:pt idx="121">
                  <c:v>67609</c:v>
                </c:pt>
                <c:pt idx="122">
                  <c:v>68196</c:v>
                </c:pt>
                <c:pt idx="123">
                  <c:v>68814</c:v>
                </c:pt>
                <c:pt idx="124">
                  <c:v>68968</c:v>
                </c:pt>
                <c:pt idx="125">
                  <c:v>69123</c:v>
                </c:pt>
                <c:pt idx="126">
                  <c:v>69579</c:v>
                </c:pt>
                <c:pt idx="127">
                  <c:v>70038</c:v>
                </c:pt>
                <c:pt idx="128">
                  <c:v>70564</c:v>
                </c:pt>
                <c:pt idx="129">
                  <c:v>71096</c:v>
                </c:pt>
                <c:pt idx="130">
                  <c:v>71658</c:v>
                </c:pt>
                <c:pt idx="131">
                  <c:v>71880</c:v>
                </c:pt>
                <c:pt idx="132">
                  <c:v>72050</c:v>
                </c:pt>
                <c:pt idx="133">
                  <c:v>72526</c:v>
                </c:pt>
                <c:pt idx="134">
                  <c:v>72958</c:v>
                </c:pt>
                <c:pt idx="135">
                  <c:v>73435</c:v>
                </c:pt>
                <c:pt idx="136">
                  <c:v>73984</c:v>
                </c:pt>
                <c:pt idx="137">
                  <c:v>74496</c:v>
                </c:pt>
                <c:pt idx="138">
                  <c:v>74705</c:v>
                </c:pt>
                <c:pt idx="139">
                  <c:v>74855</c:v>
                </c:pt>
                <c:pt idx="140">
                  <c:v>75245</c:v>
                </c:pt>
                <c:pt idx="141">
                  <c:v>75663</c:v>
                </c:pt>
                <c:pt idx="142">
                  <c:v>76127</c:v>
                </c:pt>
                <c:pt idx="143">
                  <c:v>76573</c:v>
                </c:pt>
                <c:pt idx="144">
                  <c:v>77030</c:v>
                </c:pt>
                <c:pt idx="145">
                  <c:v>77208</c:v>
                </c:pt>
                <c:pt idx="146">
                  <c:v>77324</c:v>
                </c:pt>
                <c:pt idx="147">
                  <c:v>77613</c:v>
                </c:pt>
                <c:pt idx="148">
                  <c:v>77943</c:v>
                </c:pt>
                <c:pt idx="149">
                  <c:v>78355</c:v>
                </c:pt>
                <c:pt idx="150">
                  <c:v>78728</c:v>
                </c:pt>
                <c:pt idx="151">
                  <c:v>79168</c:v>
                </c:pt>
                <c:pt idx="152">
                  <c:v>79355</c:v>
                </c:pt>
                <c:pt idx="153">
                  <c:v>79522</c:v>
                </c:pt>
                <c:pt idx="154">
                  <c:v>79865</c:v>
                </c:pt>
                <c:pt idx="155">
                  <c:v>80237</c:v>
                </c:pt>
                <c:pt idx="156">
                  <c:v>80689</c:v>
                </c:pt>
                <c:pt idx="157">
                  <c:v>81106</c:v>
                </c:pt>
                <c:pt idx="158">
                  <c:v>81573</c:v>
                </c:pt>
                <c:pt idx="159">
                  <c:v>81835</c:v>
                </c:pt>
                <c:pt idx="160">
                  <c:v>82079</c:v>
                </c:pt>
                <c:pt idx="161">
                  <c:v>82558</c:v>
                </c:pt>
                <c:pt idx="162">
                  <c:v>83106</c:v>
                </c:pt>
                <c:pt idx="163">
                  <c:v>83595</c:v>
                </c:pt>
                <c:pt idx="164">
                  <c:v>84029</c:v>
                </c:pt>
                <c:pt idx="165">
                  <c:v>84494</c:v>
                </c:pt>
                <c:pt idx="166">
                  <c:v>84786</c:v>
                </c:pt>
                <c:pt idx="167">
                  <c:v>85014</c:v>
                </c:pt>
                <c:pt idx="168">
                  <c:v>85371</c:v>
                </c:pt>
                <c:pt idx="169">
                  <c:v>85807</c:v>
                </c:pt>
                <c:pt idx="170">
                  <c:v>86197</c:v>
                </c:pt>
                <c:pt idx="171">
                  <c:v>86566</c:v>
                </c:pt>
                <c:pt idx="172">
                  <c:v>86948</c:v>
                </c:pt>
                <c:pt idx="173">
                  <c:v>87139</c:v>
                </c:pt>
                <c:pt idx="174">
                  <c:v>87281</c:v>
                </c:pt>
                <c:pt idx="175">
                  <c:v>87580</c:v>
                </c:pt>
                <c:pt idx="176">
                  <c:v>87899</c:v>
                </c:pt>
                <c:pt idx="177">
                  <c:v>88156</c:v>
                </c:pt>
                <c:pt idx="178">
                  <c:v>88446</c:v>
                </c:pt>
                <c:pt idx="179">
                  <c:v>88706</c:v>
                </c:pt>
                <c:pt idx="180">
                  <c:v>88858</c:v>
                </c:pt>
                <c:pt idx="181">
                  <c:v>88971</c:v>
                </c:pt>
                <c:pt idx="182">
                  <c:v>89244</c:v>
                </c:pt>
                <c:pt idx="183">
                  <c:v>89493</c:v>
                </c:pt>
                <c:pt idx="184">
                  <c:v>89737</c:v>
                </c:pt>
                <c:pt idx="185">
                  <c:v>89916</c:v>
                </c:pt>
                <c:pt idx="186">
                  <c:v>90154</c:v>
                </c:pt>
                <c:pt idx="187">
                  <c:v>90205</c:v>
                </c:pt>
                <c:pt idx="188">
                  <c:v>90266</c:v>
                </c:pt>
                <c:pt idx="189">
                  <c:v>90324</c:v>
                </c:pt>
                <c:pt idx="190">
                  <c:v>90384</c:v>
                </c:pt>
                <c:pt idx="191">
                  <c:v>90593</c:v>
                </c:pt>
                <c:pt idx="192">
                  <c:v>90811</c:v>
                </c:pt>
                <c:pt idx="193">
                  <c:v>91036</c:v>
                </c:pt>
                <c:pt idx="194">
                  <c:v>91129</c:v>
                </c:pt>
                <c:pt idx="195">
                  <c:v>91187</c:v>
                </c:pt>
                <c:pt idx="196">
                  <c:v>91423</c:v>
                </c:pt>
                <c:pt idx="197">
                  <c:v>91643</c:v>
                </c:pt>
                <c:pt idx="198">
                  <c:v>91884</c:v>
                </c:pt>
                <c:pt idx="199">
                  <c:v>92133</c:v>
                </c:pt>
                <c:pt idx="200">
                  <c:v>92384</c:v>
                </c:pt>
                <c:pt idx="201">
                  <c:v>92494</c:v>
                </c:pt>
                <c:pt idx="202">
                  <c:v>92563</c:v>
                </c:pt>
                <c:pt idx="203">
                  <c:v>92767</c:v>
                </c:pt>
                <c:pt idx="204">
                  <c:v>92927</c:v>
                </c:pt>
                <c:pt idx="205">
                  <c:v>93148</c:v>
                </c:pt>
                <c:pt idx="206">
                  <c:v>93328</c:v>
                </c:pt>
                <c:pt idx="207">
                  <c:v>93541</c:v>
                </c:pt>
                <c:pt idx="208">
                  <c:v>93603</c:v>
                </c:pt>
                <c:pt idx="209">
                  <c:v>93658</c:v>
                </c:pt>
                <c:pt idx="210">
                  <c:v>93840</c:v>
                </c:pt>
                <c:pt idx="211">
                  <c:v>94039</c:v>
                </c:pt>
                <c:pt idx="212">
                  <c:v>94216</c:v>
                </c:pt>
                <c:pt idx="213">
                  <c:v>94376</c:v>
                </c:pt>
                <c:pt idx="214">
                  <c:v>94588</c:v>
                </c:pt>
                <c:pt idx="215">
                  <c:v>94654</c:v>
                </c:pt>
                <c:pt idx="216">
                  <c:v>94704</c:v>
                </c:pt>
                <c:pt idx="217">
                  <c:v>94851</c:v>
                </c:pt>
                <c:pt idx="218">
                  <c:v>94981</c:v>
                </c:pt>
                <c:pt idx="219">
                  <c:v>95126</c:v>
                </c:pt>
                <c:pt idx="220">
                  <c:v>95253</c:v>
                </c:pt>
                <c:pt idx="221">
                  <c:v>95383</c:v>
                </c:pt>
                <c:pt idx="222">
                  <c:v>95421</c:v>
                </c:pt>
                <c:pt idx="223">
                  <c:v>95455</c:v>
                </c:pt>
                <c:pt idx="224">
                  <c:v>95559</c:v>
                </c:pt>
                <c:pt idx="225">
                  <c:v>95675</c:v>
                </c:pt>
                <c:pt idx="226">
                  <c:v>95748</c:v>
                </c:pt>
                <c:pt idx="227">
                  <c:v>95853</c:v>
                </c:pt>
                <c:pt idx="228">
                  <c:v>95957</c:v>
                </c:pt>
                <c:pt idx="229">
                  <c:v>95983</c:v>
                </c:pt>
                <c:pt idx="230">
                  <c:v>96002</c:v>
                </c:pt>
                <c:pt idx="231">
                  <c:v>96083</c:v>
                </c:pt>
                <c:pt idx="232">
                  <c:v>96162</c:v>
                </c:pt>
                <c:pt idx="233">
                  <c:v>96245</c:v>
                </c:pt>
                <c:pt idx="234">
                  <c:v>96317</c:v>
                </c:pt>
                <c:pt idx="235">
                  <c:v>96415</c:v>
                </c:pt>
                <c:pt idx="236">
                  <c:v>96433</c:v>
                </c:pt>
                <c:pt idx="237">
                  <c:v>96452</c:v>
                </c:pt>
                <c:pt idx="238">
                  <c:v>96546</c:v>
                </c:pt>
                <c:pt idx="239">
                  <c:v>96621</c:v>
                </c:pt>
                <c:pt idx="240">
                  <c:v>96698</c:v>
                </c:pt>
                <c:pt idx="241">
                  <c:v>96761</c:v>
                </c:pt>
                <c:pt idx="242">
                  <c:v>96864</c:v>
                </c:pt>
                <c:pt idx="243">
                  <c:v>96890</c:v>
                </c:pt>
                <c:pt idx="244">
                  <c:v>96900</c:v>
                </c:pt>
                <c:pt idx="245">
                  <c:v>96979</c:v>
                </c:pt>
                <c:pt idx="246">
                  <c:v>97058</c:v>
                </c:pt>
                <c:pt idx="247">
                  <c:v>97107</c:v>
                </c:pt>
                <c:pt idx="248">
                  <c:v>97180</c:v>
                </c:pt>
                <c:pt idx="249">
                  <c:v>97273</c:v>
                </c:pt>
                <c:pt idx="250">
                  <c:v>97288</c:v>
                </c:pt>
                <c:pt idx="251">
                  <c:v>97306</c:v>
                </c:pt>
                <c:pt idx="252">
                  <c:v>97370</c:v>
                </c:pt>
                <c:pt idx="253">
                  <c:v>97405</c:v>
                </c:pt>
                <c:pt idx="254">
                  <c:v>97458</c:v>
                </c:pt>
                <c:pt idx="255">
                  <c:v>97517</c:v>
                </c:pt>
                <c:pt idx="256">
                  <c:v>97587</c:v>
                </c:pt>
                <c:pt idx="257">
                  <c:v>97603</c:v>
                </c:pt>
                <c:pt idx="258">
                  <c:v>97616</c:v>
                </c:pt>
                <c:pt idx="259">
                  <c:v>97664</c:v>
                </c:pt>
                <c:pt idx="260">
                  <c:v>97715</c:v>
                </c:pt>
                <c:pt idx="261">
                  <c:v>97758</c:v>
                </c:pt>
                <c:pt idx="262">
                  <c:v>97804</c:v>
                </c:pt>
                <c:pt idx="263">
                  <c:v>97876</c:v>
                </c:pt>
                <c:pt idx="264">
                  <c:v>97895</c:v>
                </c:pt>
                <c:pt idx="265">
                  <c:v>97901</c:v>
                </c:pt>
                <c:pt idx="266">
                  <c:v>97945</c:v>
                </c:pt>
                <c:pt idx="267">
                  <c:v>97992</c:v>
                </c:pt>
                <c:pt idx="268">
                  <c:v>98035</c:v>
                </c:pt>
                <c:pt idx="269">
                  <c:v>98093</c:v>
                </c:pt>
                <c:pt idx="270">
                  <c:v>98162</c:v>
                </c:pt>
                <c:pt idx="271">
                  <c:v>98178</c:v>
                </c:pt>
                <c:pt idx="272">
                  <c:v>98184</c:v>
                </c:pt>
                <c:pt idx="273">
                  <c:v>98226</c:v>
                </c:pt>
                <c:pt idx="274">
                  <c:v>98232</c:v>
                </c:pt>
                <c:pt idx="275">
                  <c:v>98259</c:v>
                </c:pt>
                <c:pt idx="276">
                  <c:v>98305</c:v>
                </c:pt>
                <c:pt idx="277">
                  <c:v>98343</c:v>
                </c:pt>
                <c:pt idx="278">
                  <c:v>98351</c:v>
                </c:pt>
                <c:pt idx="279">
                  <c:v>98358</c:v>
                </c:pt>
                <c:pt idx="280">
                  <c:v>98388</c:v>
                </c:pt>
                <c:pt idx="281">
                  <c:v>98417</c:v>
                </c:pt>
                <c:pt idx="282">
                  <c:v>98455</c:v>
                </c:pt>
                <c:pt idx="283">
                  <c:v>98479</c:v>
                </c:pt>
                <c:pt idx="284">
                  <c:v>98527</c:v>
                </c:pt>
                <c:pt idx="285">
                  <c:v>98536</c:v>
                </c:pt>
                <c:pt idx="286">
                  <c:v>98543</c:v>
                </c:pt>
                <c:pt idx="287">
                  <c:v>98571</c:v>
                </c:pt>
                <c:pt idx="288">
                  <c:v>98617</c:v>
                </c:pt>
                <c:pt idx="289">
                  <c:v>98654</c:v>
                </c:pt>
                <c:pt idx="290">
                  <c:v>98682</c:v>
                </c:pt>
                <c:pt idx="291">
                  <c:v>98740</c:v>
                </c:pt>
                <c:pt idx="292">
                  <c:v>98757</c:v>
                </c:pt>
                <c:pt idx="293">
                  <c:v>98768</c:v>
                </c:pt>
                <c:pt idx="294">
                  <c:v>98826</c:v>
                </c:pt>
                <c:pt idx="295">
                  <c:v>98858</c:v>
                </c:pt>
                <c:pt idx="296">
                  <c:v>98917</c:v>
                </c:pt>
                <c:pt idx="297">
                  <c:v>99017</c:v>
                </c:pt>
                <c:pt idx="298">
                  <c:v>99161</c:v>
                </c:pt>
                <c:pt idx="299">
                  <c:v>99211</c:v>
                </c:pt>
                <c:pt idx="300">
                  <c:v>99245</c:v>
                </c:pt>
                <c:pt idx="301">
                  <c:v>99362</c:v>
                </c:pt>
                <c:pt idx="302">
                  <c:v>99519</c:v>
                </c:pt>
                <c:pt idx="303">
                  <c:v>99689</c:v>
                </c:pt>
                <c:pt idx="304">
                  <c:v>99729</c:v>
                </c:pt>
                <c:pt idx="305">
                  <c:v>99910</c:v>
                </c:pt>
                <c:pt idx="306">
                  <c:v>99960</c:v>
                </c:pt>
                <c:pt idx="307">
                  <c:v>99995</c:v>
                </c:pt>
                <c:pt idx="308">
                  <c:v>100199</c:v>
                </c:pt>
                <c:pt idx="309">
                  <c:v>100376</c:v>
                </c:pt>
                <c:pt idx="310">
                  <c:v>100568</c:v>
                </c:pt>
                <c:pt idx="311">
                  <c:v>100776</c:v>
                </c:pt>
                <c:pt idx="312">
                  <c:v>101027</c:v>
                </c:pt>
                <c:pt idx="313">
                  <c:v>101100</c:v>
                </c:pt>
                <c:pt idx="314">
                  <c:v>101144</c:v>
                </c:pt>
                <c:pt idx="315">
                  <c:v>101328</c:v>
                </c:pt>
                <c:pt idx="316">
                  <c:v>101478</c:v>
                </c:pt>
                <c:pt idx="317">
                  <c:v>101642</c:v>
                </c:pt>
                <c:pt idx="318">
                  <c:v>101830</c:v>
                </c:pt>
                <c:pt idx="319">
                  <c:v>102096</c:v>
                </c:pt>
                <c:pt idx="320">
                  <c:v>102150</c:v>
                </c:pt>
                <c:pt idx="321">
                  <c:v>102188</c:v>
                </c:pt>
                <c:pt idx="322">
                  <c:v>102371</c:v>
                </c:pt>
                <c:pt idx="323">
                  <c:v>102582</c:v>
                </c:pt>
                <c:pt idx="324">
                  <c:v>102621</c:v>
                </c:pt>
                <c:pt idx="325">
                  <c:v>102861</c:v>
                </c:pt>
                <c:pt idx="326">
                  <c:v>103140</c:v>
                </c:pt>
                <c:pt idx="327">
                  <c:v>103219</c:v>
                </c:pt>
                <c:pt idx="328">
                  <c:v>103283</c:v>
                </c:pt>
                <c:pt idx="329">
                  <c:v>103470</c:v>
                </c:pt>
                <c:pt idx="330">
                  <c:v>103663</c:v>
                </c:pt>
                <c:pt idx="331">
                  <c:v>103864</c:v>
                </c:pt>
                <c:pt idx="332">
                  <c:v>104075</c:v>
                </c:pt>
                <c:pt idx="333">
                  <c:v>104295</c:v>
                </c:pt>
                <c:pt idx="334">
                  <c:v>104373</c:v>
                </c:pt>
                <c:pt idx="335">
                  <c:v>104396</c:v>
                </c:pt>
                <c:pt idx="336">
                  <c:v>104566</c:v>
                </c:pt>
                <c:pt idx="337">
                  <c:v>104713</c:v>
                </c:pt>
                <c:pt idx="338">
                  <c:v>104874</c:v>
                </c:pt>
                <c:pt idx="339">
                  <c:v>104986</c:v>
                </c:pt>
                <c:pt idx="340">
                  <c:v>105105</c:v>
                </c:pt>
                <c:pt idx="341">
                  <c:v>105127</c:v>
                </c:pt>
                <c:pt idx="342">
                  <c:v>105134</c:v>
                </c:pt>
                <c:pt idx="343">
                  <c:v>105205</c:v>
                </c:pt>
                <c:pt idx="344">
                  <c:v>105282</c:v>
                </c:pt>
                <c:pt idx="345">
                  <c:v>105370</c:v>
                </c:pt>
                <c:pt idx="346">
                  <c:v>105444</c:v>
                </c:pt>
                <c:pt idx="347">
                  <c:v>105531</c:v>
                </c:pt>
                <c:pt idx="348">
                  <c:v>105549</c:v>
                </c:pt>
                <c:pt idx="349">
                  <c:v>105562</c:v>
                </c:pt>
                <c:pt idx="350">
                  <c:v>105638</c:v>
                </c:pt>
                <c:pt idx="351">
                  <c:v>105711</c:v>
                </c:pt>
                <c:pt idx="352">
                  <c:v>105757</c:v>
                </c:pt>
                <c:pt idx="353">
                  <c:v>105831</c:v>
                </c:pt>
                <c:pt idx="354">
                  <c:v>105921</c:v>
                </c:pt>
                <c:pt idx="355">
                  <c:v>105947</c:v>
                </c:pt>
                <c:pt idx="356">
                  <c:v>105956</c:v>
                </c:pt>
                <c:pt idx="357">
                  <c:v>106012</c:v>
                </c:pt>
                <c:pt idx="358">
                  <c:v>106070</c:v>
                </c:pt>
                <c:pt idx="359">
                  <c:v>106109</c:v>
                </c:pt>
                <c:pt idx="360">
                  <c:v>106119</c:v>
                </c:pt>
                <c:pt idx="361">
                  <c:v>106119</c:v>
                </c:pt>
                <c:pt idx="362">
                  <c:v>106147</c:v>
                </c:pt>
                <c:pt idx="363">
                  <c:v>106176</c:v>
                </c:pt>
                <c:pt idx="364">
                  <c:v>106202</c:v>
                </c:pt>
                <c:pt idx="365">
                  <c:v>106236</c:v>
                </c:pt>
                <c:pt idx="366">
                  <c:v>106239</c:v>
                </c:pt>
                <c:pt idx="367">
                  <c:v>106242</c:v>
                </c:pt>
                <c:pt idx="368">
                  <c:v>106273</c:v>
                </c:pt>
                <c:pt idx="369">
                  <c:v>106315</c:v>
                </c:pt>
                <c:pt idx="370">
                  <c:v>106349</c:v>
                </c:pt>
                <c:pt idx="371">
                  <c:v>106400</c:v>
                </c:pt>
                <c:pt idx="372">
                  <c:v>106477</c:v>
                </c:pt>
                <c:pt idx="373">
                  <c:v>106488</c:v>
                </c:pt>
                <c:pt idx="374">
                  <c:v>106500</c:v>
                </c:pt>
                <c:pt idx="375">
                  <c:v>106538</c:v>
                </c:pt>
                <c:pt idx="376">
                  <c:v>106577</c:v>
                </c:pt>
                <c:pt idx="377">
                  <c:v>106624</c:v>
                </c:pt>
                <c:pt idx="378">
                  <c:v>106673</c:v>
                </c:pt>
                <c:pt idx="379">
                  <c:v>106733</c:v>
                </c:pt>
                <c:pt idx="380">
                  <c:v>106753</c:v>
                </c:pt>
                <c:pt idx="381">
                  <c:v>106763</c:v>
                </c:pt>
                <c:pt idx="382">
                  <c:v>106802</c:v>
                </c:pt>
                <c:pt idx="383">
                  <c:v>106850</c:v>
                </c:pt>
                <c:pt idx="384">
                  <c:v>106877</c:v>
                </c:pt>
                <c:pt idx="385">
                  <c:v>106902</c:v>
                </c:pt>
                <c:pt idx="386">
                  <c:v>106952</c:v>
                </c:pt>
                <c:pt idx="387">
                  <c:v>106956</c:v>
                </c:pt>
                <c:pt idx="388">
                  <c:v>106961</c:v>
                </c:pt>
                <c:pt idx="389">
                  <c:v>106982</c:v>
                </c:pt>
                <c:pt idx="390">
                  <c:v>107001</c:v>
                </c:pt>
                <c:pt idx="391">
                  <c:v>107023</c:v>
                </c:pt>
                <c:pt idx="392">
                  <c:v>107040</c:v>
                </c:pt>
                <c:pt idx="393">
                  <c:v>107066</c:v>
                </c:pt>
                <c:pt idx="394">
                  <c:v>107072</c:v>
                </c:pt>
                <c:pt idx="395">
                  <c:v>107074</c:v>
                </c:pt>
                <c:pt idx="396">
                  <c:v>107081</c:v>
                </c:pt>
                <c:pt idx="397">
                  <c:v>107091</c:v>
                </c:pt>
                <c:pt idx="398">
                  <c:v>107102</c:v>
                </c:pt>
                <c:pt idx="399">
                  <c:v>107110</c:v>
                </c:pt>
                <c:pt idx="400">
                  <c:v>107122</c:v>
                </c:pt>
                <c:pt idx="401">
                  <c:v>107123</c:v>
                </c:pt>
                <c:pt idx="402">
                  <c:v>107124</c:v>
                </c:pt>
                <c:pt idx="403">
                  <c:v>107131</c:v>
                </c:pt>
                <c:pt idx="404">
                  <c:v>107138</c:v>
                </c:pt>
                <c:pt idx="405">
                  <c:v>107143</c:v>
                </c:pt>
                <c:pt idx="406">
                  <c:v>107148</c:v>
                </c:pt>
                <c:pt idx="407">
                  <c:v>107162</c:v>
                </c:pt>
                <c:pt idx="408">
                  <c:v>107163</c:v>
                </c:pt>
                <c:pt idx="409">
                  <c:v>107163</c:v>
                </c:pt>
                <c:pt idx="410">
                  <c:v>107165</c:v>
                </c:pt>
                <c:pt idx="411">
                  <c:v>107170</c:v>
                </c:pt>
                <c:pt idx="412">
                  <c:v>107176</c:v>
                </c:pt>
                <c:pt idx="413">
                  <c:v>107177</c:v>
                </c:pt>
                <c:pt idx="414">
                  <c:v>107178</c:v>
                </c:pt>
                <c:pt idx="415">
                  <c:v>107180</c:v>
                </c:pt>
                <c:pt idx="416">
                  <c:v>107183</c:v>
                </c:pt>
                <c:pt idx="417">
                  <c:v>107185</c:v>
                </c:pt>
                <c:pt idx="418">
                  <c:v>107185</c:v>
                </c:pt>
                <c:pt idx="419">
                  <c:v>107185</c:v>
                </c:pt>
                <c:pt idx="420">
                  <c:v>1071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J$1:$PN$1</c:f>
              <c:strCache>
                <c:ptCount val="421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4.XII.21</c:v>
                </c:pt>
                <c:pt idx="362">
                  <c:v>27.XII.21</c:v>
                </c:pt>
                <c:pt idx="363">
                  <c:v>28.XII.21</c:v>
                </c:pt>
                <c:pt idx="364">
                  <c:v>29.XII.21</c:v>
                </c:pt>
                <c:pt idx="365">
                  <c:v>30.XII.21</c:v>
                </c:pt>
                <c:pt idx="366">
                  <c:v>31.XII.21</c:v>
                </c:pt>
                <c:pt idx="367">
                  <c:v>2.I.22</c:v>
                </c:pt>
                <c:pt idx="368">
                  <c:v>3.I.22</c:v>
                </c:pt>
                <c:pt idx="369">
                  <c:v>4.I.22</c:v>
                </c:pt>
                <c:pt idx="370">
                  <c:v>5.I.22</c:v>
                </c:pt>
                <c:pt idx="371">
                  <c:v>6.I.22</c:v>
                </c:pt>
                <c:pt idx="372">
                  <c:v>7.I.22</c:v>
                </c:pt>
                <c:pt idx="373">
                  <c:v>8.I.22</c:v>
                </c:pt>
                <c:pt idx="374">
                  <c:v>9.I.22</c:v>
                </c:pt>
                <c:pt idx="375">
                  <c:v>10.I.22</c:v>
                </c:pt>
                <c:pt idx="376">
                  <c:v>11.I.22</c:v>
                </c:pt>
                <c:pt idx="377">
                  <c:v>12.I.22</c:v>
                </c:pt>
                <c:pt idx="378">
                  <c:v>13.I.22</c:v>
                </c:pt>
                <c:pt idx="379">
                  <c:v>14.I.22</c:v>
                </c:pt>
                <c:pt idx="380">
                  <c:v>15.I.22</c:v>
                </c:pt>
                <c:pt idx="381">
                  <c:v>16.I.22</c:v>
                </c:pt>
                <c:pt idx="382">
                  <c:v>17.I.22</c:v>
                </c:pt>
                <c:pt idx="383">
                  <c:v>18.I.22</c:v>
                </c:pt>
                <c:pt idx="384">
                  <c:v>19.I.22</c:v>
                </c:pt>
                <c:pt idx="385">
                  <c:v>20.I.22</c:v>
                </c:pt>
                <c:pt idx="386">
                  <c:v>21.I.22</c:v>
                </c:pt>
                <c:pt idx="387">
                  <c:v>22.I.22</c:v>
                </c:pt>
                <c:pt idx="388">
                  <c:v>23.I.22</c:v>
                </c:pt>
                <c:pt idx="389">
                  <c:v>24.I.22</c:v>
                </c:pt>
                <c:pt idx="390">
                  <c:v>25.I.22</c:v>
                </c:pt>
                <c:pt idx="391">
                  <c:v>26.I.22</c:v>
                </c:pt>
                <c:pt idx="392">
                  <c:v>27.I.22</c:v>
                </c:pt>
                <c:pt idx="393">
                  <c:v>28.I.22</c:v>
                </c:pt>
                <c:pt idx="394">
                  <c:v>29.I.22</c:v>
                </c:pt>
                <c:pt idx="395">
                  <c:v>30.I.22</c:v>
                </c:pt>
                <c:pt idx="396">
                  <c:v>31.I.22</c:v>
                </c:pt>
                <c:pt idx="397">
                  <c:v>1.II.22</c:v>
                </c:pt>
                <c:pt idx="398">
                  <c:v>2.II.22</c:v>
                </c:pt>
                <c:pt idx="399">
                  <c:v>3.II.22</c:v>
                </c:pt>
                <c:pt idx="400">
                  <c:v>4.II.22</c:v>
                </c:pt>
                <c:pt idx="401">
                  <c:v>5.II.22</c:v>
                </c:pt>
                <c:pt idx="402">
                  <c:v>6.II.22</c:v>
                </c:pt>
                <c:pt idx="403">
                  <c:v>7.II.22</c:v>
                </c:pt>
                <c:pt idx="404">
                  <c:v>8.II.22</c:v>
                </c:pt>
                <c:pt idx="405">
                  <c:v>9.II.22</c:v>
                </c:pt>
                <c:pt idx="406">
                  <c:v>10.II.22</c:v>
                </c:pt>
                <c:pt idx="407">
                  <c:v>11.II.22</c:v>
                </c:pt>
                <c:pt idx="408">
                  <c:v>12.II.22</c:v>
                </c:pt>
                <c:pt idx="409">
                  <c:v>13.II.22</c:v>
                </c:pt>
                <c:pt idx="410">
                  <c:v>14.II.22</c:v>
                </c:pt>
                <c:pt idx="411">
                  <c:v>15.II.22</c:v>
                </c:pt>
                <c:pt idx="412">
                  <c:v>16.II.22</c:v>
                </c:pt>
                <c:pt idx="413">
                  <c:v>17.II.22</c:v>
                </c:pt>
                <c:pt idx="414">
                  <c:v>18.II.22</c:v>
                </c:pt>
                <c:pt idx="415">
                  <c:v>19.II.22</c:v>
                </c:pt>
                <c:pt idx="416">
                  <c:v>21.II.22</c:v>
                </c:pt>
                <c:pt idx="417">
                  <c:v>22.II.22</c:v>
                </c:pt>
                <c:pt idx="418">
                  <c:v>23.II.22</c:v>
                </c:pt>
                <c:pt idx="419">
                  <c:v>24.II.22</c:v>
                </c:pt>
                <c:pt idx="420">
                  <c:v>25.II.22</c:v>
                </c:pt>
              </c:strCache>
            </c:strRef>
          </c:cat>
          <c:val>
            <c:numRef>
              <c:f>List1!$J$5:$PN$5</c:f>
              <c:numCache>
                <c:formatCode>General</c:formatCode>
                <c:ptCount val="421"/>
                <c:pt idx="0">
                  <c:v>1180</c:v>
                </c:pt>
                <c:pt idx="1">
                  <c:v>2130</c:v>
                </c:pt>
                <c:pt idx="2">
                  <c:v>3072</c:v>
                </c:pt>
                <c:pt idx="3">
                  <c:v>3409</c:v>
                </c:pt>
                <c:pt idx="4">
                  <c:v>3498</c:v>
                </c:pt>
                <c:pt idx="5">
                  <c:v>3889</c:v>
                </c:pt>
                <c:pt idx="6">
                  <c:v>4202</c:v>
                </c:pt>
                <c:pt idx="7">
                  <c:v>5397</c:v>
                </c:pt>
                <c:pt idx="8">
                  <c:v>6708</c:v>
                </c:pt>
                <c:pt idx="9">
                  <c:v>8205</c:v>
                </c:pt>
                <c:pt idx="10">
                  <c:v>9881</c:v>
                </c:pt>
                <c:pt idx="11">
                  <c:v>11690</c:v>
                </c:pt>
                <c:pt idx="12">
                  <c:v>12099</c:v>
                </c:pt>
                <c:pt idx="13">
                  <c:v>12392</c:v>
                </c:pt>
                <c:pt idx="14">
                  <c:v>14136</c:v>
                </c:pt>
                <c:pt idx="15">
                  <c:v>16081</c:v>
                </c:pt>
                <c:pt idx="16">
                  <c:v>17784</c:v>
                </c:pt>
                <c:pt idx="17">
                  <c:v>19688</c:v>
                </c:pt>
                <c:pt idx="18">
                  <c:v>21489</c:v>
                </c:pt>
                <c:pt idx="19">
                  <c:v>21825</c:v>
                </c:pt>
                <c:pt idx="20">
                  <c:v>22050</c:v>
                </c:pt>
                <c:pt idx="21">
                  <c:v>23608</c:v>
                </c:pt>
                <c:pt idx="22">
                  <c:v>24787</c:v>
                </c:pt>
                <c:pt idx="23">
                  <c:v>25914</c:v>
                </c:pt>
                <c:pt idx="24">
                  <c:v>26914</c:v>
                </c:pt>
                <c:pt idx="25">
                  <c:v>27743</c:v>
                </c:pt>
                <c:pt idx="26">
                  <c:v>27912</c:v>
                </c:pt>
                <c:pt idx="27">
                  <c:v>27994</c:v>
                </c:pt>
                <c:pt idx="28">
                  <c:v>28505</c:v>
                </c:pt>
                <c:pt idx="29">
                  <c:v>29044</c:v>
                </c:pt>
                <c:pt idx="30">
                  <c:v>29443</c:v>
                </c:pt>
                <c:pt idx="31">
                  <c:v>29820</c:v>
                </c:pt>
                <c:pt idx="32">
                  <c:v>30152</c:v>
                </c:pt>
                <c:pt idx="33">
                  <c:v>30177</c:v>
                </c:pt>
                <c:pt idx="34">
                  <c:v>30198</c:v>
                </c:pt>
                <c:pt idx="35">
                  <c:v>30442</c:v>
                </c:pt>
                <c:pt idx="36">
                  <c:v>30678</c:v>
                </c:pt>
                <c:pt idx="37">
                  <c:v>30901</c:v>
                </c:pt>
                <c:pt idx="38">
                  <c:v>31096</c:v>
                </c:pt>
                <c:pt idx="39">
                  <c:v>31372</c:v>
                </c:pt>
                <c:pt idx="40">
                  <c:v>31392</c:v>
                </c:pt>
                <c:pt idx="41">
                  <c:v>31404</c:v>
                </c:pt>
                <c:pt idx="42">
                  <c:v>31540</c:v>
                </c:pt>
                <c:pt idx="43">
                  <c:v>31678</c:v>
                </c:pt>
                <c:pt idx="44">
                  <c:v>31873</c:v>
                </c:pt>
                <c:pt idx="45">
                  <c:v>32105</c:v>
                </c:pt>
                <c:pt idx="46">
                  <c:v>32383</c:v>
                </c:pt>
                <c:pt idx="47">
                  <c:v>32482</c:v>
                </c:pt>
                <c:pt idx="48">
                  <c:v>32546</c:v>
                </c:pt>
                <c:pt idx="49">
                  <c:v>32902</c:v>
                </c:pt>
                <c:pt idx="50">
                  <c:v>33199</c:v>
                </c:pt>
                <c:pt idx="51">
                  <c:v>33461</c:v>
                </c:pt>
                <c:pt idx="52">
                  <c:v>33799</c:v>
                </c:pt>
                <c:pt idx="53">
                  <c:v>34245</c:v>
                </c:pt>
                <c:pt idx="54">
                  <c:v>34351</c:v>
                </c:pt>
                <c:pt idx="55">
                  <c:v>34398</c:v>
                </c:pt>
                <c:pt idx="56">
                  <c:v>34709</c:v>
                </c:pt>
                <c:pt idx="57">
                  <c:v>35188</c:v>
                </c:pt>
                <c:pt idx="58">
                  <c:v>35786</c:v>
                </c:pt>
                <c:pt idx="59">
                  <c:v>36439</c:v>
                </c:pt>
                <c:pt idx="60">
                  <c:v>36982</c:v>
                </c:pt>
                <c:pt idx="61">
                  <c:v>37056</c:v>
                </c:pt>
                <c:pt idx="62">
                  <c:v>37099</c:v>
                </c:pt>
                <c:pt idx="63">
                  <c:v>37645</c:v>
                </c:pt>
                <c:pt idx="64">
                  <c:v>38241</c:v>
                </c:pt>
                <c:pt idx="65">
                  <c:v>38801</c:v>
                </c:pt>
                <c:pt idx="66">
                  <c:v>39345</c:v>
                </c:pt>
                <c:pt idx="67">
                  <c:v>39938</c:v>
                </c:pt>
                <c:pt idx="68">
                  <c:v>40105</c:v>
                </c:pt>
                <c:pt idx="69">
                  <c:v>40214</c:v>
                </c:pt>
                <c:pt idx="70">
                  <c:v>40541</c:v>
                </c:pt>
                <c:pt idx="71">
                  <c:v>40939</c:v>
                </c:pt>
                <c:pt idx="72">
                  <c:v>41342</c:v>
                </c:pt>
                <c:pt idx="73">
                  <c:v>41820</c:v>
                </c:pt>
                <c:pt idx="74">
                  <c:v>42225</c:v>
                </c:pt>
                <c:pt idx="75">
                  <c:v>42363</c:v>
                </c:pt>
                <c:pt idx="76">
                  <c:v>42448</c:v>
                </c:pt>
                <c:pt idx="77">
                  <c:v>42701</c:v>
                </c:pt>
                <c:pt idx="78">
                  <c:v>43063</c:v>
                </c:pt>
                <c:pt idx="79">
                  <c:v>43419</c:v>
                </c:pt>
                <c:pt idx="80">
                  <c:v>43774</c:v>
                </c:pt>
                <c:pt idx="81">
                  <c:v>44105</c:v>
                </c:pt>
                <c:pt idx="82">
                  <c:v>44220</c:v>
                </c:pt>
                <c:pt idx="83">
                  <c:v>44290</c:v>
                </c:pt>
                <c:pt idx="84">
                  <c:v>44463</c:v>
                </c:pt>
                <c:pt idx="85">
                  <c:v>44656</c:v>
                </c:pt>
                <c:pt idx="86">
                  <c:v>44803</c:v>
                </c:pt>
                <c:pt idx="87">
                  <c:v>44996</c:v>
                </c:pt>
                <c:pt idx="88">
                  <c:v>45215</c:v>
                </c:pt>
                <c:pt idx="89">
                  <c:v>45278</c:v>
                </c:pt>
                <c:pt idx="90">
                  <c:v>45319</c:v>
                </c:pt>
                <c:pt idx="91">
                  <c:v>45444</c:v>
                </c:pt>
                <c:pt idx="92">
                  <c:v>45604</c:v>
                </c:pt>
                <c:pt idx="93">
                  <c:v>45763</c:v>
                </c:pt>
                <c:pt idx="94">
                  <c:v>45983</c:v>
                </c:pt>
                <c:pt idx="95">
                  <c:v>46060</c:v>
                </c:pt>
                <c:pt idx="96">
                  <c:v>46080</c:v>
                </c:pt>
                <c:pt idx="97">
                  <c:v>46109</c:v>
                </c:pt>
                <c:pt idx="98">
                  <c:v>46116</c:v>
                </c:pt>
                <c:pt idx="99">
                  <c:v>46206</c:v>
                </c:pt>
                <c:pt idx="100">
                  <c:v>46300</c:v>
                </c:pt>
                <c:pt idx="101">
                  <c:v>46469</c:v>
                </c:pt>
                <c:pt idx="102">
                  <c:v>46669</c:v>
                </c:pt>
                <c:pt idx="103">
                  <c:v>46714</c:v>
                </c:pt>
                <c:pt idx="104">
                  <c:v>46747</c:v>
                </c:pt>
                <c:pt idx="105">
                  <c:v>46883</c:v>
                </c:pt>
                <c:pt idx="106">
                  <c:v>47005</c:v>
                </c:pt>
                <c:pt idx="107">
                  <c:v>47110</c:v>
                </c:pt>
                <c:pt idx="108">
                  <c:v>47267</c:v>
                </c:pt>
                <c:pt idx="109">
                  <c:v>47442</c:v>
                </c:pt>
                <c:pt idx="110">
                  <c:v>47483</c:v>
                </c:pt>
                <c:pt idx="111">
                  <c:v>47538</c:v>
                </c:pt>
                <c:pt idx="112">
                  <c:v>47665</c:v>
                </c:pt>
                <c:pt idx="113">
                  <c:v>47784</c:v>
                </c:pt>
                <c:pt idx="114">
                  <c:v>47918</c:v>
                </c:pt>
                <c:pt idx="115">
                  <c:v>48065</c:v>
                </c:pt>
                <c:pt idx="116">
                  <c:v>48222</c:v>
                </c:pt>
                <c:pt idx="117">
                  <c:v>48278</c:v>
                </c:pt>
                <c:pt idx="118">
                  <c:v>48313</c:v>
                </c:pt>
                <c:pt idx="119">
                  <c:v>48425</c:v>
                </c:pt>
                <c:pt idx="120">
                  <c:v>48546</c:v>
                </c:pt>
                <c:pt idx="121">
                  <c:v>48665</c:v>
                </c:pt>
                <c:pt idx="122">
                  <c:v>48798</c:v>
                </c:pt>
                <c:pt idx="123">
                  <c:v>48937</c:v>
                </c:pt>
                <c:pt idx="124">
                  <c:v>48966</c:v>
                </c:pt>
                <c:pt idx="125">
                  <c:v>48996</c:v>
                </c:pt>
                <c:pt idx="126">
                  <c:v>49117</c:v>
                </c:pt>
                <c:pt idx="127">
                  <c:v>49242</c:v>
                </c:pt>
                <c:pt idx="128">
                  <c:v>49339</c:v>
                </c:pt>
                <c:pt idx="129">
                  <c:v>49456</c:v>
                </c:pt>
                <c:pt idx="130">
                  <c:v>49629</c:v>
                </c:pt>
                <c:pt idx="131">
                  <c:v>49691</c:v>
                </c:pt>
                <c:pt idx="132">
                  <c:v>49723</c:v>
                </c:pt>
                <c:pt idx="133">
                  <c:v>49822</c:v>
                </c:pt>
                <c:pt idx="134">
                  <c:v>49939</c:v>
                </c:pt>
                <c:pt idx="135">
                  <c:v>50069</c:v>
                </c:pt>
                <c:pt idx="136">
                  <c:v>50229</c:v>
                </c:pt>
                <c:pt idx="137">
                  <c:v>50355</c:v>
                </c:pt>
                <c:pt idx="138">
                  <c:v>50426</c:v>
                </c:pt>
                <c:pt idx="139">
                  <c:v>50458</c:v>
                </c:pt>
                <c:pt idx="140">
                  <c:v>50540</c:v>
                </c:pt>
                <c:pt idx="141">
                  <c:v>50632</c:v>
                </c:pt>
                <c:pt idx="142">
                  <c:v>50717</c:v>
                </c:pt>
                <c:pt idx="143">
                  <c:v>50817</c:v>
                </c:pt>
                <c:pt idx="144">
                  <c:v>50924</c:v>
                </c:pt>
                <c:pt idx="145">
                  <c:v>50955</c:v>
                </c:pt>
                <c:pt idx="146">
                  <c:v>50970</c:v>
                </c:pt>
                <c:pt idx="147">
                  <c:v>51019</c:v>
                </c:pt>
                <c:pt idx="148">
                  <c:v>51079</c:v>
                </c:pt>
                <c:pt idx="149">
                  <c:v>51171</c:v>
                </c:pt>
                <c:pt idx="150">
                  <c:v>51253</c:v>
                </c:pt>
                <c:pt idx="151">
                  <c:v>51357</c:v>
                </c:pt>
                <c:pt idx="152">
                  <c:v>51394</c:v>
                </c:pt>
                <c:pt idx="153">
                  <c:v>51427</c:v>
                </c:pt>
                <c:pt idx="154">
                  <c:v>51502</c:v>
                </c:pt>
                <c:pt idx="155">
                  <c:v>51582</c:v>
                </c:pt>
                <c:pt idx="156">
                  <c:v>51676</c:v>
                </c:pt>
                <c:pt idx="157">
                  <c:v>51746</c:v>
                </c:pt>
                <c:pt idx="158">
                  <c:v>51844</c:v>
                </c:pt>
                <c:pt idx="159">
                  <c:v>51871</c:v>
                </c:pt>
                <c:pt idx="160">
                  <c:v>51904</c:v>
                </c:pt>
                <c:pt idx="161">
                  <c:v>51983</c:v>
                </c:pt>
                <c:pt idx="162">
                  <c:v>52081</c:v>
                </c:pt>
                <c:pt idx="163">
                  <c:v>52168</c:v>
                </c:pt>
                <c:pt idx="164">
                  <c:v>52253</c:v>
                </c:pt>
                <c:pt idx="165">
                  <c:v>52347</c:v>
                </c:pt>
                <c:pt idx="166">
                  <c:v>52376</c:v>
                </c:pt>
                <c:pt idx="167">
                  <c:v>52406</c:v>
                </c:pt>
                <c:pt idx="168">
                  <c:v>52476</c:v>
                </c:pt>
                <c:pt idx="169">
                  <c:v>52530</c:v>
                </c:pt>
                <c:pt idx="170">
                  <c:v>52605</c:v>
                </c:pt>
                <c:pt idx="171">
                  <c:v>52684</c:v>
                </c:pt>
                <c:pt idx="172">
                  <c:v>52762</c:v>
                </c:pt>
                <c:pt idx="173">
                  <c:v>52790</c:v>
                </c:pt>
                <c:pt idx="174">
                  <c:v>52815</c:v>
                </c:pt>
                <c:pt idx="175">
                  <c:v>52854</c:v>
                </c:pt>
                <c:pt idx="176">
                  <c:v>52904</c:v>
                </c:pt>
                <c:pt idx="177">
                  <c:v>52959</c:v>
                </c:pt>
                <c:pt idx="178">
                  <c:v>53011</c:v>
                </c:pt>
                <c:pt idx="179">
                  <c:v>53068</c:v>
                </c:pt>
                <c:pt idx="180">
                  <c:v>53082</c:v>
                </c:pt>
                <c:pt idx="181">
                  <c:v>53094</c:v>
                </c:pt>
                <c:pt idx="182">
                  <c:v>53138</c:v>
                </c:pt>
                <c:pt idx="183">
                  <c:v>53184</c:v>
                </c:pt>
                <c:pt idx="184">
                  <c:v>53242</c:v>
                </c:pt>
                <c:pt idx="185">
                  <c:v>53286</c:v>
                </c:pt>
                <c:pt idx="186">
                  <c:v>53341</c:v>
                </c:pt>
                <c:pt idx="187">
                  <c:v>53353</c:v>
                </c:pt>
                <c:pt idx="188">
                  <c:v>53365</c:v>
                </c:pt>
                <c:pt idx="189">
                  <c:v>53371</c:v>
                </c:pt>
                <c:pt idx="190">
                  <c:v>53380</c:v>
                </c:pt>
                <c:pt idx="191">
                  <c:v>53420</c:v>
                </c:pt>
                <c:pt idx="192">
                  <c:v>53475</c:v>
                </c:pt>
                <c:pt idx="193">
                  <c:v>53523</c:v>
                </c:pt>
                <c:pt idx="194">
                  <c:v>53538</c:v>
                </c:pt>
                <c:pt idx="195">
                  <c:v>53552</c:v>
                </c:pt>
                <c:pt idx="196">
                  <c:v>53600</c:v>
                </c:pt>
                <c:pt idx="197">
                  <c:v>53643</c:v>
                </c:pt>
                <c:pt idx="198">
                  <c:v>53689</c:v>
                </c:pt>
                <c:pt idx="199">
                  <c:v>53749</c:v>
                </c:pt>
                <c:pt idx="200">
                  <c:v>53804</c:v>
                </c:pt>
                <c:pt idx="201">
                  <c:v>53826</c:v>
                </c:pt>
                <c:pt idx="202">
                  <c:v>53845</c:v>
                </c:pt>
                <c:pt idx="203">
                  <c:v>53894</c:v>
                </c:pt>
                <c:pt idx="204">
                  <c:v>53940</c:v>
                </c:pt>
                <c:pt idx="205">
                  <c:v>54009</c:v>
                </c:pt>
                <c:pt idx="206">
                  <c:v>54047</c:v>
                </c:pt>
                <c:pt idx="207">
                  <c:v>54080</c:v>
                </c:pt>
                <c:pt idx="208">
                  <c:v>54086</c:v>
                </c:pt>
                <c:pt idx="209">
                  <c:v>54095</c:v>
                </c:pt>
                <c:pt idx="210">
                  <c:v>54136</c:v>
                </c:pt>
                <c:pt idx="211">
                  <c:v>54187</c:v>
                </c:pt>
                <c:pt idx="212">
                  <c:v>54221</c:v>
                </c:pt>
                <c:pt idx="213">
                  <c:v>54249</c:v>
                </c:pt>
                <c:pt idx="214">
                  <c:v>54294</c:v>
                </c:pt>
                <c:pt idx="215">
                  <c:v>54311</c:v>
                </c:pt>
                <c:pt idx="216">
                  <c:v>54324</c:v>
                </c:pt>
                <c:pt idx="217">
                  <c:v>54361</c:v>
                </c:pt>
                <c:pt idx="218">
                  <c:v>54387</c:v>
                </c:pt>
                <c:pt idx="219">
                  <c:v>54427</c:v>
                </c:pt>
                <c:pt idx="220">
                  <c:v>54458</c:v>
                </c:pt>
                <c:pt idx="221">
                  <c:v>54491</c:v>
                </c:pt>
                <c:pt idx="222">
                  <c:v>54504</c:v>
                </c:pt>
                <c:pt idx="223">
                  <c:v>54509</c:v>
                </c:pt>
                <c:pt idx="224">
                  <c:v>54531</c:v>
                </c:pt>
                <c:pt idx="225">
                  <c:v>54546</c:v>
                </c:pt>
                <c:pt idx="226">
                  <c:v>54566</c:v>
                </c:pt>
                <c:pt idx="227">
                  <c:v>54589</c:v>
                </c:pt>
                <c:pt idx="228">
                  <c:v>54614</c:v>
                </c:pt>
                <c:pt idx="229">
                  <c:v>54624</c:v>
                </c:pt>
                <c:pt idx="230">
                  <c:v>54629</c:v>
                </c:pt>
                <c:pt idx="231">
                  <c:v>54646</c:v>
                </c:pt>
                <c:pt idx="232">
                  <c:v>54670</c:v>
                </c:pt>
                <c:pt idx="233">
                  <c:v>54693</c:v>
                </c:pt>
                <c:pt idx="234">
                  <c:v>54715</c:v>
                </c:pt>
                <c:pt idx="235">
                  <c:v>54748</c:v>
                </c:pt>
                <c:pt idx="236">
                  <c:v>54758</c:v>
                </c:pt>
                <c:pt idx="237">
                  <c:v>54761</c:v>
                </c:pt>
                <c:pt idx="238">
                  <c:v>54773</c:v>
                </c:pt>
                <c:pt idx="239">
                  <c:v>54801</c:v>
                </c:pt>
                <c:pt idx="240">
                  <c:v>54825</c:v>
                </c:pt>
                <c:pt idx="241">
                  <c:v>54852</c:v>
                </c:pt>
                <c:pt idx="242">
                  <c:v>54880</c:v>
                </c:pt>
                <c:pt idx="243">
                  <c:v>54882</c:v>
                </c:pt>
                <c:pt idx="244">
                  <c:v>54889</c:v>
                </c:pt>
                <c:pt idx="245">
                  <c:v>54911</c:v>
                </c:pt>
                <c:pt idx="246">
                  <c:v>54936</c:v>
                </c:pt>
                <c:pt idx="247">
                  <c:v>54956</c:v>
                </c:pt>
                <c:pt idx="248">
                  <c:v>54984</c:v>
                </c:pt>
                <c:pt idx="249">
                  <c:v>55010</c:v>
                </c:pt>
                <c:pt idx="250">
                  <c:v>55018</c:v>
                </c:pt>
                <c:pt idx="251">
                  <c:v>55023</c:v>
                </c:pt>
                <c:pt idx="252">
                  <c:v>55036</c:v>
                </c:pt>
                <c:pt idx="253">
                  <c:v>55049</c:v>
                </c:pt>
                <c:pt idx="254">
                  <c:v>55069</c:v>
                </c:pt>
                <c:pt idx="255">
                  <c:v>55097</c:v>
                </c:pt>
                <c:pt idx="256">
                  <c:v>55122</c:v>
                </c:pt>
                <c:pt idx="257">
                  <c:v>55124</c:v>
                </c:pt>
                <c:pt idx="258">
                  <c:v>55127</c:v>
                </c:pt>
                <c:pt idx="259">
                  <c:v>55146</c:v>
                </c:pt>
                <c:pt idx="260">
                  <c:v>55164</c:v>
                </c:pt>
                <c:pt idx="261">
                  <c:v>55179</c:v>
                </c:pt>
                <c:pt idx="262">
                  <c:v>55197</c:v>
                </c:pt>
                <c:pt idx="263">
                  <c:v>55222</c:v>
                </c:pt>
                <c:pt idx="264">
                  <c:v>55227</c:v>
                </c:pt>
                <c:pt idx="265">
                  <c:v>55227</c:v>
                </c:pt>
                <c:pt idx="266">
                  <c:v>55247</c:v>
                </c:pt>
                <c:pt idx="267">
                  <c:v>55255</c:v>
                </c:pt>
                <c:pt idx="268">
                  <c:v>55266</c:v>
                </c:pt>
                <c:pt idx="269">
                  <c:v>55290</c:v>
                </c:pt>
                <c:pt idx="270">
                  <c:v>55315</c:v>
                </c:pt>
                <c:pt idx="271">
                  <c:v>55321</c:v>
                </c:pt>
                <c:pt idx="272">
                  <c:v>55321</c:v>
                </c:pt>
                <c:pt idx="273">
                  <c:v>55333</c:v>
                </c:pt>
                <c:pt idx="274">
                  <c:v>55333</c:v>
                </c:pt>
                <c:pt idx="275">
                  <c:v>55350</c:v>
                </c:pt>
                <c:pt idx="276">
                  <c:v>55365</c:v>
                </c:pt>
                <c:pt idx="277">
                  <c:v>55385</c:v>
                </c:pt>
                <c:pt idx="278">
                  <c:v>55391</c:v>
                </c:pt>
                <c:pt idx="279">
                  <c:v>55391</c:v>
                </c:pt>
                <c:pt idx="280">
                  <c:v>55401</c:v>
                </c:pt>
                <c:pt idx="281">
                  <c:v>55408</c:v>
                </c:pt>
                <c:pt idx="282">
                  <c:v>55420</c:v>
                </c:pt>
                <c:pt idx="283">
                  <c:v>55438</c:v>
                </c:pt>
                <c:pt idx="284">
                  <c:v>55452</c:v>
                </c:pt>
                <c:pt idx="285">
                  <c:v>55458</c:v>
                </c:pt>
                <c:pt idx="286">
                  <c:v>55458</c:v>
                </c:pt>
                <c:pt idx="287">
                  <c:v>55477</c:v>
                </c:pt>
                <c:pt idx="288">
                  <c:v>55495</c:v>
                </c:pt>
                <c:pt idx="289">
                  <c:v>55502</c:v>
                </c:pt>
                <c:pt idx="290">
                  <c:v>55512</c:v>
                </c:pt>
                <c:pt idx="291">
                  <c:v>55529</c:v>
                </c:pt>
                <c:pt idx="292">
                  <c:v>55531</c:v>
                </c:pt>
                <c:pt idx="293">
                  <c:v>55533</c:v>
                </c:pt>
                <c:pt idx="294">
                  <c:v>55554</c:v>
                </c:pt>
                <c:pt idx="295">
                  <c:v>55561</c:v>
                </c:pt>
                <c:pt idx="296">
                  <c:v>55575</c:v>
                </c:pt>
                <c:pt idx="297">
                  <c:v>55600</c:v>
                </c:pt>
                <c:pt idx="298">
                  <c:v>55639</c:v>
                </c:pt>
                <c:pt idx="299">
                  <c:v>55646</c:v>
                </c:pt>
                <c:pt idx="300">
                  <c:v>55652</c:v>
                </c:pt>
                <c:pt idx="301">
                  <c:v>55673</c:v>
                </c:pt>
                <c:pt idx="302">
                  <c:v>55710</c:v>
                </c:pt>
                <c:pt idx="303">
                  <c:v>55757</c:v>
                </c:pt>
                <c:pt idx="304">
                  <c:v>55764</c:v>
                </c:pt>
                <c:pt idx="305">
                  <c:v>55798</c:v>
                </c:pt>
                <c:pt idx="306">
                  <c:v>55810</c:v>
                </c:pt>
                <c:pt idx="307">
                  <c:v>55813</c:v>
                </c:pt>
                <c:pt idx="308">
                  <c:v>55857</c:v>
                </c:pt>
                <c:pt idx="309">
                  <c:v>55897</c:v>
                </c:pt>
                <c:pt idx="310">
                  <c:v>55932</c:v>
                </c:pt>
                <c:pt idx="311">
                  <c:v>55991</c:v>
                </c:pt>
                <c:pt idx="312">
                  <c:v>56054</c:v>
                </c:pt>
                <c:pt idx="313">
                  <c:v>56078</c:v>
                </c:pt>
                <c:pt idx="314">
                  <c:v>56093</c:v>
                </c:pt>
                <c:pt idx="315">
                  <c:v>56123</c:v>
                </c:pt>
                <c:pt idx="316">
                  <c:v>56158</c:v>
                </c:pt>
                <c:pt idx="317">
                  <c:v>56191</c:v>
                </c:pt>
                <c:pt idx="318">
                  <c:v>56225</c:v>
                </c:pt>
                <c:pt idx="319">
                  <c:v>56289</c:v>
                </c:pt>
                <c:pt idx="320">
                  <c:v>56300</c:v>
                </c:pt>
                <c:pt idx="321">
                  <c:v>56309</c:v>
                </c:pt>
                <c:pt idx="322">
                  <c:v>56356</c:v>
                </c:pt>
                <c:pt idx="323">
                  <c:v>56412</c:v>
                </c:pt>
                <c:pt idx="324">
                  <c:v>56427</c:v>
                </c:pt>
                <c:pt idx="325">
                  <c:v>56472</c:v>
                </c:pt>
                <c:pt idx="326">
                  <c:v>56539</c:v>
                </c:pt>
                <c:pt idx="327">
                  <c:v>56565</c:v>
                </c:pt>
                <c:pt idx="328">
                  <c:v>56576</c:v>
                </c:pt>
                <c:pt idx="329">
                  <c:v>56624</c:v>
                </c:pt>
                <c:pt idx="330">
                  <c:v>56673</c:v>
                </c:pt>
                <c:pt idx="331">
                  <c:v>56709</c:v>
                </c:pt>
                <c:pt idx="332">
                  <c:v>56760</c:v>
                </c:pt>
                <c:pt idx="333">
                  <c:v>56821</c:v>
                </c:pt>
                <c:pt idx="334">
                  <c:v>56831</c:v>
                </c:pt>
                <c:pt idx="335">
                  <c:v>56836</c:v>
                </c:pt>
                <c:pt idx="336">
                  <c:v>56866</c:v>
                </c:pt>
                <c:pt idx="337">
                  <c:v>56894</c:v>
                </c:pt>
                <c:pt idx="338">
                  <c:v>56928</c:v>
                </c:pt>
                <c:pt idx="339">
                  <c:v>56954</c:v>
                </c:pt>
                <c:pt idx="340">
                  <c:v>56985</c:v>
                </c:pt>
                <c:pt idx="341">
                  <c:v>56989</c:v>
                </c:pt>
                <c:pt idx="342">
                  <c:v>56991</c:v>
                </c:pt>
                <c:pt idx="343">
                  <c:v>57010</c:v>
                </c:pt>
                <c:pt idx="344">
                  <c:v>57028</c:v>
                </c:pt>
                <c:pt idx="345">
                  <c:v>57052</c:v>
                </c:pt>
                <c:pt idx="346">
                  <c:v>57071</c:v>
                </c:pt>
                <c:pt idx="347">
                  <c:v>57090</c:v>
                </c:pt>
                <c:pt idx="348">
                  <c:v>57094</c:v>
                </c:pt>
                <c:pt idx="349">
                  <c:v>57096</c:v>
                </c:pt>
                <c:pt idx="350">
                  <c:v>57109</c:v>
                </c:pt>
                <c:pt idx="351">
                  <c:v>57120</c:v>
                </c:pt>
                <c:pt idx="352">
                  <c:v>57132</c:v>
                </c:pt>
                <c:pt idx="353">
                  <c:v>57149</c:v>
                </c:pt>
                <c:pt idx="354">
                  <c:v>57166</c:v>
                </c:pt>
                <c:pt idx="355">
                  <c:v>57170</c:v>
                </c:pt>
                <c:pt idx="356">
                  <c:v>57172</c:v>
                </c:pt>
                <c:pt idx="357">
                  <c:v>57181</c:v>
                </c:pt>
                <c:pt idx="358">
                  <c:v>57188</c:v>
                </c:pt>
                <c:pt idx="359">
                  <c:v>57201</c:v>
                </c:pt>
                <c:pt idx="360">
                  <c:v>57203</c:v>
                </c:pt>
                <c:pt idx="361">
                  <c:v>57204</c:v>
                </c:pt>
                <c:pt idx="362">
                  <c:v>57211</c:v>
                </c:pt>
                <c:pt idx="363">
                  <c:v>57216</c:v>
                </c:pt>
                <c:pt idx="364">
                  <c:v>57219</c:v>
                </c:pt>
                <c:pt idx="365">
                  <c:v>57225</c:v>
                </c:pt>
                <c:pt idx="366">
                  <c:v>57227</c:v>
                </c:pt>
                <c:pt idx="367">
                  <c:v>57228</c:v>
                </c:pt>
                <c:pt idx="368">
                  <c:v>57233</c:v>
                </c:pt>
                <c:pt idx="369">
                  <c:v>57239</c:v>
                </c:pt>
                <c:pt idx="370">
                  <c:v>57249</c:v>
                </c:pt>
                <c:pt idx="371">
                  <c:v>57258</c:v>
                </c:pt>
                <c:pt idx="372">
                  <c:v>57273</c:v>
                </c:pt>
                <c:pt idx="373">
                  <c:v>57276</c:v>
                </c:pt>
                <c:pt idx="374">
                  <c:v>57277</c:v>
                </c:pt>
                <c:pt idx="375">
                  <c:v>57285</c:v>
                </c:pt>
                <c:pt idx="376">
                  <c:v>57291</c:v>
                </c:pt>
                <c:pt idx="377">
                  <c:v>57303</c:v>
                </c:pt>
                <c:pt idx="378">
                  <c:v>57314</c:v>
                </c:pt>
                <c:pt idx="379">
                  <c:v>57326</c:v>
                </c:pt>
                <c:pt idx="380">
                  <c:v>57329</c:v>
                </c:pt>
                <c:pt idx="381">
                  <c:v>57329</c:v>
                </c:pt>
                <c:pt idx="382">
                  <c:v>57338</c:v>
                </c:pt>
                <c:pt idx="383">
                  <c:v>57346</c:v>
                </c:pt>
                <c:pt idx="384">
                  <c:v>57349</c:v>
                </c:pt>
                <c:pt idx="385">
                  <c:v>57357</c:v>
                </c:pt>
                <c:pt idx="386">
                  <c:v>57366</c:v>
                </c:pt>
                <c:pt idx="387">
                  <c:v>57367</c:v>
                </c:pt>
                <c:pt idx="388">
                  <c:v>57367</c:v>
                </c:pt>
                <c:pt idx="389">
                  <c:v>57371</c:v>
                </c:pt>
                <c:pt idx="390">
                  <c:v>57376</c:v>
                </c:pt>
                <c:pt idx="391">
                  <c:v>57382</c:v>
                </c:pt>
                <c:pt idx="392">
                  <c:v>57384</c:v>
                </c:pt>
                <c:pt idx="393">
                  <c:v>57392</c:v>
                </c:pt>
                <c:pt idx="394">
                  <c:v>57393</c:v>
                </c:pt>
                <c:pt idx="395">
                  <c:v>57393</c:v>
                </c:pt>
                <c:pt idx="396">
                  <c:v>57398</c:v>
                </c:pt>
                <c:pt idx="397">
                  <c:v>57400</c:v>
                </c:pt>
                <c:pt idx="398">
                  <c:v>57403</c:v>
                </c:pt>
                <c:pt idx="399">
                  <c:v>57406</c:v>
                </c:pt>
                <c:pt idx="400">
                  <c:v>57410</c:v>
                </c:pt>
                <c:pt idx="401">
                  <c:v>57410</c:v>
                </c:pt>
                <c:pt idx="402">
                  <c:v>57410</c:v>
                </c:pt>
                <c:pt idx="403">
                  <c:v>57411</c:v>
                </c:pt>
                <c:pt idx="404">
                  <c:v>57413</c:v>
                </c:pt>
                <c:pt idx="405">
                  <c:v>57416</c:v>
                </c:pt>
                <c:pt idx="406">
                  <c:v>57418</c:v>
                </c:pt>
                <c:pt idx="407">
                  <c:v>57422</c:v>
                </c:pt>
                <c:pt idx="408">
                  <c:v>57422</c:v>
                </c:pt>
                <c:pt idx="409">
                  <c:v>57423</c:v>
                </c:pt>
                <c:pt idx="410">
                  <c:v>57424</c:v>
                </c:pt>
                <c:pt idx="411">
                  <c:v>57424</c:v>
                </c:pt>
                <c:pt idx="412">
                  <c:v>57425</c:v>
                </c:pt>
                <c:pt idx="413">
                  <c:v>57426</c:v>
                </c:pt>
                <c:pt idx="414">
                  <c:v>57427</c:v>
                </c:pt>
                <c:pt idx="415">
                  <c:v>57427</c:v>
                </c:pt>
                <c:pt idx="416">
                  <c:v>57427</c:v>
                </c:pt>
                <c:pt idx="417">
                  <c:v>57427</c:v>
                </c:pt>
                <c:pt idx="418">
                  <c:v>57428</c:v>
                </c:pt>
                <c:pt idx="419">
                  <c:v>57428</c:v>
                </c:pt>
                <c:pt idx="420">
                  <c:v>574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3F-421B-A24A-264CC3DD701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87-4B41-A7BA-23E0663C99C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87-4B41-A7BA-23E0663C99C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3F-421B-A24A-264CC3DD701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87-4B41-A7BA-23E0663C99C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3F-421B-A24A-264CC3DD701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87-4B41-A7BA-23E0663C99C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84</c:f>
              <c:numCache>
                <c:formatCode>m/d/yyyy</c:formatCode>
                <c:ptCount val="250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</c:numCache>
            </c:numRef>
          </c:cat>
          <c:val>
            <c:numRef>
              <c:f>Sheet1!$B$135:$B$384</c:f>
              <c:numCache>
                <c:formatCode>General</c:formatCode>
                <c:ptCount val="250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3</c:v>
                </c:pt>
                <c:pt idx="26">
                  <c:v>2</c:v>
                </c:pt>
                <c:pt idx="27">
                  <c:v>1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4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3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2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7</c:v>
                </c:pt>
                <c:pt idx="45">
                  <c:v>1</c:v>
                </c:pt>
                <c:pt idx="46">
                  <c:v>2</c:v>
                </c:pt>
                <c:pt idx="47">
                  <c:v>0</c:v>
                </c:pt>
                <c:pt idx="48">
                  <c:v>3</c:v>
                </c:pt>
                <c:pt idx="49">
                  <c:v>2</c:v>
                </c:pt>
                <c:pt idx="50">
                  <c:v>0</c:v>
                </c:pt>
                <c:pt idx="51">
                  <c:v>4</c:v>
                </c:pt>
                <c:pt idx="52">
                  <c:v>1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3</c:v>
                </c:pt>
                <c:pt idx="57">
                  <c:v>0</c:v>
                </c:pt>
                <c:pt idx="58">
                  <c:v>0</c:v>
                </c:pt>
                <c:pt idx="59">
                  <c:v>2</c:v>
                </c:pt>
                <c:pt idx="60">
                  <c:v>1</c:v>
                </c:pt>
                <c:pt idx="61">
                  <c:v>0</c:v>
                </c:pt>
                <c:pt idx="62">
                  <c:v>0</c:v>
                </c:pt>
                <c:pt idx="63">
                  <c:v>2</c:v>
                </c:pt>
                <c:pt idx="64">
                  <c:v>0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0</c:v>
                </c:pt>
                <c:pt idx="70">
                  <c:v>0</c:v>
                </c:pt>
                <c:pt idx="71">
                  <c:v>4</c:v>
                </c:pt>
                <c:pt idx="72">
                  <c:v>4</c:v>
                </c:pt>
                <c:pt idx="73">
                  <c:v>1</c:v>
                </c:pt>
                <c:pt idx="74">
                  <c:v>1</c:v>
                </c:pt>
                <c:pt idx="75">
                  <c:v>3</c:v>
                </c:pt>
                <c:pt idx="76">
                  <c:v>1</c:v>
                </c:pt>
                <c:pt idx="77">
                  <c:v>0</c:v>
                </c:pt>
                <c:pt idx="78">
                  <c:v>2</c:v>
                </c:pt>
                <c:pt idx="79">
                  <c:v>0</c:v>
                </c:pt>
                <c:pt idx="80">
                  <c:v>0</c:v>
                </c:pt>
                <c:pt idx="81">
                  <c:v>3</c:v>
                </c:pt>
                <c:pt idx="82">
                  <c:v>3</c:v>
                </c:pt>
                <c:pt idx="83">
                  <c:v>0</c:v>
                </c:pt>
                <c:pt idx="84">
                  <c:v>4</c:v>
                </c:pt>
                <c:pt idx="85">
                  <c:v>2</c:v>
                </c:pt>
                <c:pt idx="86">
                  <c:v>0</c:v>
                </c:pt>
                <c:pt idx="87">
                  <c:v>1</c:v>
                </c:pt>
                <c:pt idx="88">
                  <c:v>2</c:v>
                </c:pt>
                <c:pt idx="89">
                  <c:v>1</c:v>
                </c:pt>
                <c:pt idx="90">
                  <c:v>1</c:v>
                </c:pt>
                <c:pt idx="91">
                  <c:v>0</c:v>
                </c:pt>
                <c:pt idx="92">
                  <c:v>3</c:v>
                </c:pt>
                <c:pt idx="93">
                  <c:v>3</c:v>
                </c:pt>
                <c:pt idx="94">
                  <c:v>2</c:v>
                </c:pt>
                <c:pt idx="95">
                  <c:v>3</c:v>
                </c:pt>
                <c:pt idx="96">
                  <c:v>0</c:v>
                </c:pt>
                <c:pt idx="97">
                  <c:v>2</c:v>
                </c:pt>
                <c:pt idx="98">
                  <c:v>6</c:v>
                </c:pt>
                <c:pt idx="99">
                  <c:v>4</c:v>
                </c:pt>
                <c:pt idx="100">
                  <c:v>3</c:v>
                </c:pt>
                <c:pt idx="101">
                  <c:v>9</c:v>
                </c:pt>
                <c:pt idx="102">
                  <c:v>2</c:v>
                </c:pt>
                <c:pt idx="103">
                  <c:v>5</c:v>
                </c:pt>
                <c:pt idx="104">
                  <c:v>1</c:v>
                </c:pt>
                <c:pt idx="105">
                  <c:v>0</c:v>
                </c:pt>
                <c:pt idx="106">
                  <c:v>2</c:v>
                </c:pt>
                <c:pt idx="107">
                  <c:v>5</c:v>
                </c:pt>
                <c:pt idx="108">
                  <c:v>6</c:v>
                </c:pt>
                <c:pt idx="109">
                  <c:v>6</c:v>
                </c:pt>
                <c:pt idx="110">
                  <c:v>1</c:v>
                </c:pt>
                <c:pt idx="111">
                  <c:v>1</c:v>
                </c:pt>
                <c:pt idx="112">
                  <c:v>3</c:v>
                </c:pt>
                <c:pt idx="113">
                  <c:v>10</c:v>
                </c:pt>
                <c:pt idx="114">
                  <c:v>7</c:v>
                </c:pt>
                <c:pt idx="115">
                  <c:v>7</c:v>
                </c:pt>
                <c:pt idx="116">
                  <c:v>6</c:v>
                </c:pt>
                <c:pt idx="117">
                  <c:v>5</c:v>
                </c:pt>
                <c:pt idx="118">
                  <c:v>8</c:v>
                </c:pt>
                <c:pt idx="119">
                  <c:v>17</c:v>
                </c:pt>
                <c:pt idx="120">
                  <c:v>17</c:v>
                </c:pt>
                <c:pt idx="121">
                  <c:v>13</c:v>
                </c:pt>
                <c:pt idx="122">
                  <c:v>13</c:v>
                </c:pt>
                <c:pt idx="123">
                  <c:v>17</c:v>
                </c:pt>
                <c:pt idx="124">
                  <c:v>15</c:v>
                </c:pt>
                <c:pt idx="125">
                  <c:v>12</c:v>
                </c:pt>
                <c:pt idx="126">
                  <c:v>28</c:v>
                </c:pt>
                <c:pt idx="127">
                  <c:v>20</c:v>
                </c:pt>
                <c:pt idx="128">
                  <c:v>23</c:v>
                </c:pt>
                <c:pt idx="129">
                  <c:v>22</c:v>
                </c:pt>
                <c:pt idx="130">
                  <c:v>38</c:v>
                </c:pt>
                <c:pt idx="131">
                  <c:v>22</c:v>
                </c:pt>
                <c:pt idx="132">
                  <c:v>18</c:v>
                </c:pt>
                <c:pt idx="133">
                  <c:v>57</c:v>
                </c:pt>
                <c:pt idx="134">
                  <c:v>39</c:v>
                </c:pt>
                <c:pt idx="135">
                  <c:v>39</c:v>
                </c:pt>
                <c:pt idx="136">
                  <c:v>27</c:v>
                </c:pt>
                <c:pt idx="137">
                  <c:v>41</c:v>
                </c:pt>
                <c:pt idx="138">
                  <c:v>21</c:v>
                </c:pt>
                <c:pt idx="139">
                  <c:v>19</c:v>
                </c:pt>
                <c:pt idx="140">
                  <c:v>53</c:v>
                </c:pt>
                <c:pt idx="141">
                  <c:v>46</c:v>
                </c:pt>
                <c:pt idx="142">
                  <c:v>48</c:v>
                </c:pt>
                <c:pt idx="143">
                  <c:v>50</c:v>
                </c:pt>
                <c:pt idx="144">
                  <c:v>45</c:v>
                </c:pt>
                <c:pt idx="145">
                  <c:v>50</c:v>
                </c:pt>
                <c:pt idx="146">
                  <c:v>23</c:v>
                </c:pt>
                <c:pt idx="147">
                  <c:v>65</c:v>
                </c:pt>
                <c:pt idx="148">
                  <c:v>62</c:v>
                </c:pt>
                <c:pt idx="149">
                  <c:v>44</c:v>
                </c:pt>
                <c:pt idx="150">
                  <c:v>58</c:v>
                </c:pt>
                <c:pt idx="151">
                  <c:v>84</c:v>
                </c:pt>
                <c:pt idx="152">
                  <c:v>50</c:v>
                </c:pt>
                <c:pt idx="153">
                  <c:v>31</c:v>
                </c:pt>
                <c:pt idx="154">
                  <c:v>63</c:v>
                </c:pt>
                <c:pt idx="155">
                  <c:v>73</c:v>
                </c:pt>
                <c:pt idx="156">
                  <c:v>44</c:v>
                </c:pt>
                <c:pt idx="157">
                  <c:v>71</c:v>
                </c:pt>
                <c:pt idx="158">
                  <c:v>57</c:v>
                </c:pt>
                <c:pt idx="159">
                  <c:v>34</c:v>
                </c:pt>
                <c:pt idx="160">
                  <c:v>42</c:v>
                </c:pt>
                <c:pt idx="161">
                  <c:v>64</c:v>
                </c:pt>
                <c:pt idx="162">
                  <c:v>52</c:v>
                </c:pt>
                <c:pt idx="163">
                  <c:v>57</c:v>
                </c:pt>
                <c:pt idx="164">
                  <c:v>44</c:v>
                </c:pt>
                <c:pt idx="165">
                  <c:v>52</c:v>
                </c:pt>
                <c:pt idx="166">
                  <c:v>27</c:v>
                </c:pt>
                <c:pt idx="167">
                  <c:v>17</c:v>
                </c:pt>
                <c:pt idx="168">
                  <c:v>47</c:v>
                </c:pt>
                <c:pt idx="169">
                  <c:v>45</c:v>
                </c:pt>
                <c:pt idx="170">
                  <c:v>31</c:v>
                </c:pt>
                <c:pt idx="171">
                  <c:v>33</c:v>
                </c:pt>
                <c:pt idx="172">
                  <c:v>34</c:v>
                </c:pt>
                <c:pt idx="173">
                  <c:v>21</c:v>
                </c:pt>
                <c:pt idx="174">
                  <c:v>13</c:v>
                </c:pt>
                <c:pt idx="175">
                  <c:v>30</c:v>
                </c:pt>
                <c:pt idx="176">
                  <c:v>25</c:v>
                </c:pt>
                <c:pt idx="177">
                  <c:v>25</c:v>
                </c:pt>
                <c:pt idx="178">
                  <c:v>16</c:v>
                </c:pt>
                <c:pt idx="179">
                  <c:v>25</c:v>
                </c:pt>
                <c:pt idx="180">
                  <c:v>21</c:v>
                </c:pt>
                <c:pt idx="181">
                  <c:v>15</c:v>
                </c:pt>
                <c:pt idx="182">
                  <c:v>27</c:v>
                </c:pt>
                <c:pt idx="183">
                  <c:v>31</c:v>
                </c:pt>
                <c:pt idx="184">
                  <c:v>22</c:v>
                </c:pt>
                <c:pt idx="185">
                  <c:v>24</c:v>
                </c:pt>
                <c:pt idx="186">
                  <c:v>4</c:v>
                </c:pt>
                <c:pt idx="187">
                  <c:v>12</c:v>
                </c:pt>
                <c:pt idx="188">
                  <c:v>8</c:v>
                </c:pt>
                <c:pt idx="189">
                  <c:v>26</c:v>
                </c:pt>
                <c:pt idx="190">
                  <c:v>34</c:v>
                </c:pt>
                <c:pt idx="191">
                  <c:v>27</c:v>
                </c:pt>
                <c:pt idx="192">
                  <c:v>23</c:v>
                </c:pt>
                <c:pt idx="193">
                  <c:v>21</c:v>
                </c:pt>
                <c:pt idx="194">
                  <c:v>7</c:v>
                </c:pt>
                <c:pt idx="195">
                  <c:v>27</c:v>
                </c:pt>
                <c:pt idx="196">
                  <c:v>41</c:v>
                </c:pt>
                <c:pt idx="197">
                  <c:v>31</c:v>
                </c:pt>
                <c:pt idx="198">
                  <c:v>21</c:v>
                </c:pt>
                <c:pt idx="199">
                  <c:v>26</c:v>
                </c:pt>
                <c:pt idx="200">
                  <c:v>20</c:v>
                </c:pt>
                <c:pt idx="201">
                  <c:v>18</c:v>
                </c:pt>
                <c:pt idx="202">
                  <c:v>16</c:v>
                </c:pt>
                <c:pt idx="203">
                  <c:v>38</c:v>
                </c:pt>
                <c:pt idx="204">
                  <c:v>52</c:v>
                </c:pt>
                <c:pt idx="205">
                  <c:v>80</c:v>
                </c:pt>
                <c:pt idx="206">
                  <c:v>47</c:v>
                </c:pt>
                <c:pt idx="207">
                  <c:v>58</c:v>
                </c:pt>
                <c:pt idx="208">
                  <c:v>41</c:v>
                </c:pt>
                <c:pt idx="209">
                  <c:v>52</c:v>
                </c:pt>
                <c:pt idx="210">
                  <c:v>132</c:v>
                </c:pt>
                <c:pt idx="211">
                  <c:v>112</c:v>
                </c:pt>
                <c:pt idx="212">
                  <c:v>150</c:v>
                </c:pt>
                <c:pt idx="213">
                  <c:v>125</c:v>
                </c:pt>
                <c:pt idx="214">
                  <c:v>109</c:v>
                </c:pt>
                <c:pt idx="215">
                  <c:v>68</c:v>
                </c:pt>
                <c:pt idx="216">
                  <c:v>94</c:v>
                </c:pt>
                <c:pt idx="217">
                  <c:v>208</c:v>
                </c:pt>
                <c:pt idx="218">
                  <c:v>173</c:v>
                </c:pt>
                <c:pt idx="219">
                  <c:v>183</c:v>
                </c:pt>
                <c:pt idx="220">
                  <c:v>213</c:v>
                </c:pt>
                <c:pt idx="221">
                  <c:v>197</c:v>
                </c:pt>
                <c:pt idx="222">
                  <c:v>73</c:v>
                </c:pt>
                <c:pt idx="223">
                  <c:v>119</c:v>
                </c:pt>
                <c:pt idx="224">
                  <c:v>217</c:v>
                </c:pt>
                <c:pt idx="225">
                  <c:v>244</c:v>
                </c:pt>
                <c:pt idx="226">
                  <c:v>185</c:v>
                </c:pt>
                <c:pt idx="227">
                  <c:v>149</c:v>
                </c:pt>
                <c:pt idx="228">
                  <c:v>150</c:v>
                </c:pt>
                <c:pt idx="229">
                  <c:v>89</c:v>
                </c:pt>
                <c:pt idx="230">
                  <c:v>63</c:v>
                </c:pt>
                <c:pt idx="231">
                  <c:v>167</c:v>
                </c:pt>
                <c:pt idx="232">
                  <c:v>138</c:v>
                </c:pt>
                <c:pt idx="233">
                  <c:v>122</c:v>
                </c:pt>
                <c:pt idx="234">
                  <c:v>114</c:v>
                </c:pt>
                <c:pt idx="235">
                  <c:v>109</c:v>
                </c:pt>
                <c:pt idx="236">
                  <c:v>54</c:v>
                </c:pt>
                <c:pt idx="237">
                  <c:v>53</c:v>
                </c:pt>
                <c:pt idx="238">
                  <c:v>164</c:v>
                </c:pt>
                <c:pt idx="239">
                  <c:v>101</c:v>
                </c:pt>
                <c:pt idx="240">
                  <c:v>93</c:v>
                </c:pt>
                <c:pt idx="241">
                  <c:v>74</c:v>
                </c:pt>
                <c:pt idx="242">
                  <c:v>77</c:v>
                </c:pt>
                <c:pt idx="243">
                  <c:v>43</c:v>
                </c:pt>
                <c:pt idx="244">
                  <c:v>45</c:v>
                </c:pt>
                <c:pt idx="245">
                  <c:v>87</c:v>
                </c:pt>
                <c:pt idx="246">
                  <c:v>68</c:v>
                </c:pt>
                <c:pt idx="247">
                  <c:v>63</c:v>
                </c:pt>
                <c:pt idx="248">
                  <c:v>58</c:v>
                </c:pt>
                <c:pt idx="249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.56471970000000005</c:v>
                </c:pt>
                <c:pt idx="10">
                  <c:v>2.2588788000000002</c:v>
                </c:pt>
                <c:pt idx="11">
                  <c:v>9.6002349000000002</c:v>
                </c:pt>
                <c:pt idx="12">
                  <c:v>13.8356326</c:v>
                </c:pt>
                <c:pt idx="13">
                  <c:v>8.7551082999999998</c:v>
                </c:pt>
                <c:pt idx="14">
                  <c:v>4.5204380000000004</c:v>
                </c:pt>
                <c:pt idx="15">
                  <c:v>6.5005354999999998</c:v>
                </c:pt>
                <c:pt idx="16">
                  <c:v>3.3928303</c:v>
                </c:pt>
                <c:pt idx="17">
                  <c:v>1.9798395</c:v>
                </c:pt>
                <c:pt idx="18">
                  <c:v>2.2630385999999998</c:v>
                </c:pt>
                <c:pt idx="19">
                  <c:v>0.84876669999999999</c:v>
                </c:pt>
                <c:pt idx="20">
                  <c:v>0.56592770000000003</c:v>
                </c:pt>
                <c:pt idx="21">
                  <c:v>1.4150155</c:v>
                </c:pt>
                <c:pt idx="22">
                  <c:v>1.1321437999999999</c:v>
                </c:pt>
                <c:pt idx="23">
                  <c:v>0.84919679999999997</c:v>
                </c:pt>
                <c:pt idx="24">
                  <c:v>1.4154762000000001</c:v>
                </c:pt>
                <c:pt idx="25">
                  <c:v>1.1324964</c:v>
                </c:pt>
                <c:pt idx="26">
                  <c:v>1.1325509</c:v>
                </c:pt>
                <c:pt idx="27">
                  <c:v>1.1325284</c:v>
                </c:pt>
                <c:pt idx="28">
                  <c:v>1.6987638</c:v>
                </c:pt>
                <c:pt idx="29">
                  <c:v>2.5481025000000002</c:v>
                </c:pt>
                <c:pt idx="30">
                  <c:v>4.2463205000000004</c:v>
                </c:pt>
                <c:pt idx="31">
                  <c:v>3.3953935</c:v>
                </c:pt>
                <c:pt idx="32">
                  <c:v>7.0700156999999999</c:v>
                </c:pt>
                <c:pt idx="33">
                  <c:v>6.7836660000000002</c:v>
                </c:pt>
                <c:pt idx="34">
                  <c:v>8.1922986000000009</c:v>
                </c:pt>
                <c:pt idx="35">
                  <c:v>16.353598600000002</c:v>
                </c:pt>
                <c:pt idx="36">
                  <c:v>30.657246300000001</c:v>
                </c:pt>
                <c:pt idx="37">
                  <c:v>49.097586300000003</c:v>
                </c:pt>
                <c:pt idx="38">
                  <c:v>51.775044399999999</c:v>
                </c:pt>
                <c:pt idx="39">
                  <c:v>98.864731199999994</c:v>
                </c:pt>
                <c:pt idx="40">
                  <c:v>189.453125</c:v>
                </c:pt>
                <c:pt idx="41">
                  <c:v>272.0807767</c:v>
                </c:pt>
                <c:pt idx="42">
                  <c:v>318.63455060000001</c:v>
                </c:pt>
                <c:pt idx="43">
                  <c:v>202.8804007</c:v>
                </c:pt>
                <c:pt idx="44">
                  <c:v>148.27426</c:v>
                </c:pt>
                <c:pt idx="45">
                  <c:v>92.6049522</c:v>
                </c:pt>
                <c:pt idx="46">
                  <c:v>92.573544499999997</c:v>
                </c:pt>
                <c:pt idx="47">
                  <c:v>91.152129500000001</c:v>
                </c:pt>
                <c:pt idx="48">
                  <c:v>111.9615496</c:v>
                </c:pt>
                <c:pt idx="49">
                  <c:v>135.26800840000001</c:v>
                </c:pt>
                <c:pt idx="50">
                  <c:v>179.11392749999999</c:v>
                </c:pt>
                <c:pt idx="51">
                  <c:v>197.6750965</c:v>
                </c:pt>
                <c:pt idx="52">
                  <c:v>222.48994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49-4946-8B42-18535E6234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181.0427171</c:v>
                </c:pt>
                <c:pt idx="1">
                  <c:v>126.40995719999999</c:v>
                </c:pt>
                <c:pt idx="2">
                  <c:v>105.0729673</c:v>
                </c:pt>
                <c:pt idx="3">
                  <c:v>75.927187700000005</c:v>
                </c:pt>
                <c:pt idx="4">
                  <c:v>58.713206800000002</c:v>
                </c:pt>
                <c:pt idx="5">
                  <c:v>44.261829599999999</c:v>
                </c:pt>
                <c:pt idx="6">
                  <c:v>40.380748599999997</c:v>
                </c:pt>
                <c:pt idx="7">
                  <c:v>48.197604599999998</c:v>
                </c:pt>
                <c:pt idx="8">
                  <c:v>61.129663100000002</c:v>
                </c:pt>
                <c:pt idx="9">
                  <c:v>34.5670614</c:v>
                </c:pt>
                <c:pt idx="10">
                  <c:v>29.551651199999998</c:v>
                </c:pt>
                <c:pt idx="11">
                  <c:v>19.795741400000001</c:v>
                </c:pt>
                <c:pt idx="12">
                  <c:v>17.287819800000001</c:v>
                </c:pt>
                <c:pt idx="13">
                  <c:v>10.3158604</c:v>
                </c:pt>
                <c:pt idx="14">
                  <c:v>8.3621362000000001</c:v>
                </c:pt>
                <c:pt idx="15">
                  <c:v>9.1960940999999998</c:v>
                </c:pt>
                <c:pt idx="16">
                  <c:v>6.4078274999999998</c:v>
                </c:pt>
                <c:pt idx="17">
                  <c:v>6.9640598000000002</c:v>
                </c:pt>
                <c:pt idx="18">
                  <c:v>1.6716816999999999</c:v>
                </c:pt>
                <c:pt idx="19">
                  <c:v>4.1800661000000003</c:v>
                </c:pt>
                <c:pt idx="20">
                  <c:v>2.5085499000000002</c:v>
                </c:pt>
                <c:pt idx="21">
                  <c:v>2.5090604000000001</c:v>
                </c:pt>
                <c:pt idx="22">
                  <c:v>0.27884819999999999</c:v>
                </c:pt>
                <c:pt idx="23">
                  <c:v>0.27891510000000003</c:v>
                </c:pt>
                <c:pt idx="24">
                  <c:v>0.27898200000000001</c:v>
                </c:pt>
                <c:pt idx="25">
                  <c:v>0</c:v>
                </c:pt>
                <c:pt idx="26">
                  <c:v>0.55804659999999995</c:v>
                </c:pt>
                <c:pt idx="27">
                  <c:v>1.39456</c:v>
                </c:pt>
                <c:pt idx="28">
                  <c:v>3.3456098000000001</c:v>
                </c:pt>
                <c:pt idx="29">
                  <c:v>2.7869126</c:v>
                </c:pt>
                <c:pt idx="30">
                  <c:v>2.7857248000000001</c:v>
                </c:pt>
                <c:pt idx="31">
                  <c:v>2.7842589000000002</c:v>
                </c:pt>
                <c:pt idx="32">
                  <c:v>1.3913933000000001</c:v>
                </c:pt>
                <c:pt idx="33">
                  <c:v>1.3906542</c:v>
                </c:pt>
                <c:pt idx="34">
                  <c:v>3.0576873999999998</c:v>
                </c:pt>
                <c:pt idx="35">
                  <c:v>2.2199836999999998</c:v>
                </c:pt>
                <c:pt idx="36">
                  <c:v>3.3225718</c:v>
                </c:pt>
                <c:pt idx="37">
                  <c:v>3.0389341999999999</c:v>
                </c:pt>
                <c:pt idx="38">
                  <c:v>5.5131046000000001</c:v>
                </c:pt>
                <c:pt idx="39">
                  <c:v>6.6050924999999996</c:v>
                </c:pt>
                <c:pt idx="40">
                  <c:v>9.3551032000000003</c:v>
                </c:pt>
                <c:pt idx="41">
                  <c:v>19.8072643</c:v>
                </c:pt>
                <c:pt idx="42">
                  <c:v>34.381463699999998</c:v>
                </c:pt>
                <c:pt idx="43">
                  <c:v>62.703511300000002</c:v>
                </c:pt>
                <c:pt idx="44">
                  <c:v>69.040067899999997</c:v>
                </c:pt>
                <c:pt idx="45">
                  <c:v>89.962694299999995</c:v>
                </c:pt>
                <c:pt idx="46">
                  <c:v>104.5650917</c:v>
                </c:pt>
                <c:pt idx="47">
                  <c:v>96.880556100000007</c:v>
                </c:pt>
                <c:pt idx="48">
                  <c:v>66.903812599999995</c:v>
                </c:pt>
                <c:pt idx="49">
                  <c:v>46.822539800000001</c:v>
                </c:pt>
                <c:pt idx="50">
                  <c:v>40.778202299999997</c:v>
                </c:pt>
                <c:pt idx="51">
                  <c:v>34.178233900000002</c:v>
                </c:pt>
                <c:pt idx="52">
                  <c:v>36.6675029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49-4946-8B42-18535E6234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60B6-4916-93FC-CDB9D95E353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42.214466000000002</c:v>
                </c:pt>
                <c:pt idx="1">
                  <c:v>72.384488700000006</c:v>
                </c:pt>
                <c:pt idx="2">
                  <c:v>159.34623769999999</c:v>
                </c:pt>
                <c:pt idx="3">
                  <c:v>249.03185049999999</c:v>
                </c:pt>
                <c:pt idx="4">
                  <c:v>250.43055749999999</c:v>
                </c:pt>
                <c:pt idx="5">
                  <c:v>173.70938910000001</c:v>
                </c:pt>
                <c:pt idx="6">
                  <c:v>135.2086711</c:v>
                </c:pt>
                <c:pt idx="7">
                  <c:v>88.6118495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549-4946-8B42-18535E6234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84</c:f>
              <c:numCache>
                <c:formatCode>m/d/yyyy</c:formatCode>
                <c:ptCount val="250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</c:numCache>
            </c:numRef>
          </c:cat>
          <c:val>
            <c:numRef>
              <c:f>Sheet1!$B$135:$B$384</c:f>
              <c:numCache>
                <c:formatCode>General</c:formatCode>
                <c:ptCount val="250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3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  <c:pt idx="14">
                  <c:v>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0</c:v>
                </c:pt>
                <c:pt idx="26">
                  <c:v>0</c:v>
                </c:pt>
                <c:pt idx="27">
                  <c:v>2</c:v>
                </c:pt>
                <c:pt idx="28">
                  <c:v>5</c:v>
                </c:pt>
                <c:pt idx="29">
                  <c:v>1</c:v>
                </c:pt>
                <c:pt idx="30">
                  <c:v>4</c:v>
                </c:pt>
                <c:pt idx="31">
                  <c:v>0</c:v>
                </c:pt>
                <c:pt idx="32">
                  <c:v>4</c:v>
                </c:pt>
                <c:pt idx="33">
                  <c:v>1</c:v>
                </c:pt>
                <c:pt idx="34">
                  <c:v>1</c:v>
                </c:pt>
                <c:pt idx="35">
                  <c:v>3</c:v>
                </c:pt>
                <c:pt idx="36">
                  <c:v>0</c:v>
                </c:pt>
                <c:pt idx="37">
                  <c:v>0</c:v>
                </c:pt>
                <c:pt idx="38">
                  <c:v>2</c:v>
                </c:pt>
                <c:pt idx="39">
                  <c:v>2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2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0</c:v>
                </c:pt>
                <c:pt idx="48">
                  <c:v>0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2</c:v>
                </c:pt>
                <c:pt idx="54">
                  <c:v>3</c:v>
                </c:pt>
                <c:pt idx="55">
                  <c:v>1</c:v>
                </c:pt>
                <c:pt idx="56">
                  <c:v>3</c:v>
                </c:pt>
                <c:pt idx="57">
                  <c:v>3</c:v>
                </c:pt>
                <c:pt idx="58">
                  <c:v>2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1</c:v>
                </c:pt>
                <c:pt idx="63">
                  <c:v>5</c:v>
                </c:pt>
                <c:pt idx="64">
                  <c:v>2</c:v>
                </c:pt>
                <c:pt idx="65">
                  <c:v>0</c:v>
                </c:pt>
                <c:pt idx="66">
                  <c:v>2</c:v>
                </c:pt>
                <c:pt idx="67">
                  <c:v>1</c:v>
                </c:pt>
                <c:pt idx="68">
                  <c:v>2</c:v>
                </c:pt>
                <c:pt idx="69">
                  <c:v>1</c:v>
                </c:pt>
                <c:pt idx="70">
                  <c:v>0</c:v>
                </c:pt>
                <c:pt idx="71">
                  <c:v>2</c:v>
                </c:pt>
                <c:pt idx="72">
                  <c:v>1</c:v>
                </c:pt>
                <c:pt idx="73">
                  <c:v>6</c:v>
                </c:pt>
                <c:pt idx="74">
                  <c:v>6</c:v>
                </c:pt>
                <c:pt idx="75">
                  <c:v>1</c:v>
                </c:pt>
                <c:pt idx="76">
                  <c:v>1</c:v>
                </c:pt>
                <c:pt idx="77">
                  <c:v>2</c:v>
                </c:pt>
                <c:pt idx="78">
                  <c:v>6</c:v>
                </c:pt>
                <c:pt idx="79">
                  <c:v>1</c:v>
                </c:pt>
                <c:pt idx="80">
                  <c:v>4</c:v>
                </c:pt>
                <c:pt idx="81">
                  <c:v>0</c:v>
                </c:pt>
                <c:pt idx="82">
                  <c:v>1</c:v>
                </c:pt>
                <c:pt idx="83">
                  <c:v>2</c:v>
                </c:pt>
                <c:pt idx="84">
                  <c:v>3</c:v>
                </c:pt>
                <c:pt idx="85">
                  <c:v>5</c:v>
                </c:pt>
                <c:pt idx="86">
                  <c:v>3</c:v>
                </c:pt>
                <c:pt idx="87">
                  <c:v>8</c:v>
                </c:pt>
                <c:pt idx="88">
                  <c:v>6</c:v>
                </c:pt>
                <c:pt idx="89">
                  <c:v>2</c:v>
                </c:pt>
                <c:pt idx="90">
                  <c:v>2</c:v>
                </c:pt>
                <c:pt idx="91">
                  <c:v>10</c:v>
                </c:pt>
                <c:pt idx="92">
                  <c:v>7</c:v>
                </c:pt>
                <c:pt idx="93">
                  <c:v>6</c:v>
                </c:pt>
                <c:pt idx="94">
                  <c:v>5</c:v>
                </c:pt>
                <c:pt idx="95">
                  <c:v>7</c:v>
                </c:pt>
                <c:pt idx="96">
                  <c:v>6</c:v>
                </c:pt>
                <c:pt idx="97">
                  <c:v>6</c:v>
                </c:pt>
                <c:pt idx="98">
                  <c:v>5</c:v>
                </c:pt>
                <c:pt idx="99">
                  <c:v>9</c:v>
                </c:pt>
                <c:pt idx="100">
                  <c:v>12</c:v>
                </c:pt>
                <c:pt idx="101">
                  <c:v>16</c:v>
                </c:pt>
                <c:pt idx="102">
                  <c:v>8</c:v>
                </c:pt>
                <c:pt idx="103">
                  <c:v>5</c:v>
                </c:pt>
                <c:pt idx="104">
                  <c:v>8</c:v>
                </c:pt>
                <c:pt idx="105">
                  <c:v>10</c:v>
                </c:pt>
                <c:pt idx="106">
                  <c:v>14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5</c:v>
                </c:pt>
                <c:pt idx="111">
                  <c:v>4</c:v>
                </c:pt>
                <c:pt idx="112">
                  <c:v>18</c:v>
                </c:pt>
                <c:pt idx="113">
                  <c:v>19</c:v>
                </c:pt>
                <c:pt idx="114">
                  <c:v>22</c:v>
                </c:pt>
                <c:pt idx="115">
                  <c:v>21</c:v>
                </c:pt>
                <c:pt idx="116">
                  <c:v>17</c:v>
                </c:pt>
                <c:pt idx="117">
                  <c:v>10</c:v>
                </c:pt>
                <c:pt idx="118">
                  <c:v>10</c:v>
                </c:pt>
                <c:pt idx="119">
                  <c:v>35</c:v>
                </c:pt>
                <c:pt idx="120">
                  <c:v>29</c:v>
                </c:pt>
                <c:pt idx="121">
                  <c:v>26</c:v>
                </c:pt>
                <c:pt idx="122">
                  <c:v>53</c:v>
                </c:pt>
                <c:pt idx="123">
                  <c:v>43</c:v>
                </c:pt>
                <c:pt idx="124">
                  <c:v>34</c:v>
                </c:pt>
                <c:pt idx="125">
                  <c:v>11</c:v>
                </c:pt>
                <c:pt idx="126">
                  <c:v>65</c:v>
                </c:pt>
                <c:pt idx="127">
                  <c:v>68</c:v>
                </c:pt>
                <c:pt idx="128">
                  <c:v>77</c:v>
                </c:pt>
                <c:pt idx="129">
                  <c:v>35</c:v>
                </c:pt>
                <c:pt idx="130">
                  <c:v>82</c:v>
                </c:pt>
                <c:pt idx="131">
                  <c:v>63</c:v>
                </c:pt>
                <c:pt idx="132">
                  <c:v>37</c:v>
                </c:pt>
                <c:pt idx="133">
                  <c:v>111</c:v>
                </c:pt>
                <c:pt idx="134">
                  <c:v>104</c:v>
                </c:pt>
                <c:pt idx="135">
                  <c:v>117</c:v>
                </c:pt>
                <c:pt idx="136">
                  <c:v>103</c:v>
                </c:pt>
                <c:pt idx="137">
                  <c:v>112</c:v>
                </c:pt>
                <c:pt idx="138">
                  <c:v>83</c:v>
                </c:pt>
                <c:pt idx="139">
                  <c:v>28</c:v>
                </c:pt>
                <c:pt idx="140">
                  <c:v>134</c:v>
                </c:pt>
                <c:pt idx="141">
                  <c:v>147</c:v>
                </c:pt>
                <c:pt idx="142">
                  <c:v>168</c:v>
                </c:pt>
                <c:pt idx="143">
                  <c:v>96</c:v>
                </c:pt>
                <c:pt idx="144">
                  <c:v>161</c:v>
                </c:pt>
                <c:pt idx="145">
                  <c:v>97</c:v>
                </c:pt>
                <c:pt idx="146">
                  <c:v>54</c:v>
                </c:pt>
                <c:pt idx="147">
                  <c:v>160</c:v>
                </c:pt>
                <c:pt idx="148">
                  <c:v>229</c:v>
                </c:pt>
                <c:pt idx="149">
                  <c:v>121</c:v>
                </c:pt>
                <c:pt idx="150">
                  <c:v>167</c:v>
                </c:pt>
                <c:pt idx="151">
                  <c:v>237</c:v>
                </c:pt>
                <c:pt idx="152">
                  <c:v>154</c:v>
                </c:pt>
                <c:pt idx="153">
                  <c:v>84</c:v>
                </c:pt>
                <c:pt idx="154">
                  <c:v>192</c:v>
                </c:pt>
                <c:pt idx="155">
                  <c:v>259</c:v>
                </c:pt>
                <c:pt idx="156">
                  <c:v>141</c:v>
                </c:pt>
                <c:pt idx="157">
                  <c:v>214</c:v>
                </c:pt>
                <c:pt idx="158">
                  <c:v>188</c:v>
                </c:pt>
                <c:pt idx="159">
                  <c:v>108</c:v>
                </c:pt>
                <c:pt idx="160">
                  <c:v>78</c:v>
                </c:pt>
                <c:pt idx="161">
                  <c:v>200</c:v>
                </c:pt>
                <c:pt idx="162">
                  <c:v>164</c:v>
                </c:pt>
                <c:pt idx="163">
                  <c:v>175</c:v>
                </c:pt>
                <c:pt idx="164">
                  <c:v>146</c:v>
                </c:pt>
                <c:pt idx="165">
                  <c:v>146</c:v>
                </c:pt>
                <c:pt idx="166">
                  <c:v>86</c:v>
                </c:pt>
                <c:pt idx="167">
                  <c:v>65</c:v>
                </c:pt>
                <c:pt idx="168">
                  <c:v>167</c:v>
                </c:pt>
                <c:pt idx="169">
                  <c:v>153</c:v>
                </c:pt>
                <c:pt idx="170">
                  <c:v>120</c:v>
                </c:pt>
                <c:pt idx="171">
                  <c:v>127</c:v>
                </c:pt>
                <c:pt idx="172">
                  <c:v>112</c:v>
                </c:pt>
                <c:pt idx="173">
                  <c:v>74</c:v>
                </c:pt>
                <c:pt idx="174">
                  <c:v>58</c:v>
                </c:pt>
                <c:pt idx="175">
                  <c:v>103</c:v>
                </c:pt>
                <c:pt idx="176">
                  <c:v>125</c:v>
                </c:pt>
                <c:pt idx="177">
                  <c:v>86</c:v>
                </c:pt>
                <c:pt idx="178">
                  <c:v>66</c:v>
                </c:pt>
                <c:pt idx="179">
                  <c:v>81</c:v>
                </c:pt>
                <c:pt idx="180">
                  <c:v>48</c:v>
                </c:pt>
                <c:pt idx="181">
                  <c:v>33</c:v>
                </c:pt>
                <c:pt idx="182">
                  <c:v>90</c:v>
                </c:pt>
                <c:pt idx="183">
                  <c:v>83</c:v>
                </c:pt>
                <c:pt idx="184">
                  <c:v>52</c:v>
                </c:pt>
                <c:pt idx="185">
                  <c:v>61</c:v>
                </c:pt>
                <c:pt idx="186">
                  <c:v>22</c:v>
                </c:pt>
                <c:pt idx="187">
                  <c:v>18</c:v>
                </c:pt>
                <c:pt idx="188">
                  <c:v>18</c:v>
                </c:pt>
                <c:pt idx="189">
                  <c:v>75</c:v>
                </c:pt>
                <c:pt idx="190">
                  <c:v>91</c:v>
                </c:pt>
                <c:pt idx="191">
                  <c:v>56</c:v>
                </c:pt>
                <c:pt idx="192">
                  <c:v>53</c:v>
                </c:pt>
                <c:pt idx="193">
                  <c:v>52</c:v>
                </c:pt>
                <c:pt idx="194">
                  <c:v>12</c:v>
                </c:pt>
                <c:pt idx="195">
                  <c:v>36</c:v>
                </c:pt>
                <c:pt idx="196">
                  <c:v>98</c:v>
                </c:pt>
                <c:pt idx="197">
                  <c:v>80</c:v>
                </c:pt>
                <c:pt idx="198">
                  <c:v>56</c:v>
                </c:pt>
                <c:pt idx="199">
                  <c:v>59</c:v>
                </c:pt>
                <c:pt idx="200">
                  <c:v>67</c:v>
                </c:pt>
                <c:pt idx="201">
                  <c:v>37</c:v>
                </c:pt>
                <c:pt idx="202">
                  <c:v>30</c:v>
                </c:pt>
                <c:pt idx="203">
                  <c:v>71</c:v>
                </c:pt>
                <c:pt idx="204">
                  <c:v>106</c:v>
                </c:pt>
                <c:pt idx="205">
                  <c:v>117</c:v>
                </c:pt>
                <c:pt idx="206">
                  <c:v>97</c:v>
                </c:pt>
                <c:pt idx="207">
                  <c:v>113</c:v>
                </c:pt>
                <c:pt idx="208">
                  <c:v>92</c:v>
                </c:pt>
                <c:pt idx="209">
                  <c:v>68</c:v>
                </c:pt>
                <c:pt idx="210">
                  <c:v>238</c:v>
                </c:pt>
                <c:pt idx="211">
                  <c:v>271</c:v>
                </c:pt>
                <c:pt idx="212">
                  <c:v>289</c:v>
                </c:pt>
                <c:pt idx="213">
                  <c:v>291</c:v>
                </c:pt>
                <c:pt idx="214">
                  <c:v>314</c:v>
                </c:pt>
                <c:pt idx="215">
                  <c:v>171</c:v>
                </c:pt>
                <c:pt idx="216">
                  <c:v>187</c:v>
                </c:pt>
                <c:pt idx="217">
                  <c:v>420</c:v>
                </c:pt>
                <c:pt idx="218">
                  <c:v>386</c:v>
                </c:pt>
                <c:pt idx="219">
                  <c:v>442</c:v>
                </c:pt>
                <c:pt idx="220">
                  <c:v>816</c:v>
                </c:pt>
                <c:pt idx="221">
                  <c:v>612</c:v>
                </c:pt>
                <c:pt idx="222">
                  <c:v>217</c:v>
                </c:pt>
                <c:pt idx="223">
                  <c:v>324</c:v>
                </c:pt>
                <c:pt idx="224">
                  <c:v>639</c:v>
                </c:pt>
                <c:pt idx="225">
                  <c:v>713</c:v>
                </c:pt>
                <c:pt idx="226">
                  <c:v>574</c:v>
                </c:pt>
                <c:pt idx="227">
                  <c:v>552</c:v>
                </c:pt>
                <c:pt idx="228">
                  <c:v>413</c:v>
                </c:pt>
                <c:pt idx="229">
                  <c:v>338</c:v>
                </c:pt>
                <c:pt idx="230">
                  <c:v>171</c:v>
                </c:pt>
                <c:pt idx="231">
                  <c:v>625</c:v>
                </c:pt>
                <c:pt idx="232">
                  <c:v>544</c:v>
                </c:pt>
                <c:pt idx="233">
                  <c:v>426</c:v>
                </c:pt>
                <c:pt idx="234">
                  <c:v>370</c:v>
                </c:pt>
                <c:pt idx="235">
                  <c:v>353</c:v>
                </c:pt>
                <c:pt idx="236">
                  <c:v>202</c:v>
                </c:pt>
                <c:pt idx="237">
                  <c:v>147</c:v>
                </c:pt>
                <c:pt idx="238">
                  <c:v>420</c:v>
                </c:pt>
                <c:pt idx="239">
                  <c:v>416</c:v>
                </c:pt>
                <c:pt idx="240">
                  <c:v>311</c:v>
                </c:pt>
                <c:pt idx="241">
                  <c:v>277</c:v>
                </c:pt>
                <c:pt idx="242">
                  <c:v>232</c:v>
                </c:pt>
                <c:pt idx="243">
                  <c:v>132</c:v>
                </c:pt>
                <c:pt idx="244">
                  <c:v>89</c:v>
                </c:pt>
                <c:pt idx="245">
                  <c:v>307</c:v>
                </c:pt>
                <c:pt idx="246">
                  <c:v>243</c:v>
                </c:pt>
                <c:pt idx="247">
                  <c:v>176</c:v>
                </c:pt>
                <c:pt idx="248">
                  <c:v>168</c:v>
                </c:pt>
                <c:pt idx="249">
                  <c:v>1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</c:v>
                </c:pt>
                <c:pt idx="10">
                  <c:v>1.2684381</c:v>
                </c:pt>
                <c:pt idx="11">
                  <c:v>3.8053143999999999</c:v>
                </c:pt>
                <c:pt idx="12">
                  <c:v>10.2884428</c:v>
                </c:pt>
                <c:pt idx="13">
                  <c:v>14.8001556</c:v>
                </c:pt>
                <c:pt idx="14">
                  <c:v>7.4720081</c:v>
                </c:pt>
                <c:pt idx="15">
                  <c:v>7.8964771000000002</c:v>
                </c:pt>
                <c:pt idx="16">
                  <c:v>4.5131445000000001</c:v>
                </c:pt>
                <c:pt idx="17">
                  <c:v>5.0781112000000004</c:v>
                </c:pt>
                <c:pt idx="18">
                  <c:v>2.9623276000000001</c:v>
                </c:pt>
                <c:pt idx="19">
                  <c:v>0.84639960000000003</c:v>
                </c:pt>
                <c:pt idx="20">
                  <c:v>0.70534889999999995</c:v>
                </c:pt>
                <c:pt idx="21">
                  <c:v>1.5518027000000001</c:v>
                </c:pt>
                <c:pt idx="22">
                  <c:v>1.6929425</c:v>
                </c:pt>
                <c:pt idx="23">
                  <c:v>2.1162766999999998</c:v>
                </c:pt>
                <c:pt idx="24">
                  <c:v>1.9752751</c:v>
                </c:pt>
                <c:pt idx="25">
                  <c:v>1.1287811999999999</c:v>
                </c:pt>
                <c:pt idx="26">
                  <c:v>1.8341917999999999</c:v>
                </c:pt>
                <c:pt idx="27">
                  <c:v>3.2447241</c:v>
                </c:pt>
                <c:pt idx="28">
                  <c:v>2.3979902000000002</c:v>
                </c:pt>
                <c:pt idx="29">
                  <c:v>5.3595782999999999</c:v>
                </c:pt>
                <c:pt idx="30">
                  <c:v>3.6667127000000002</c:v>
                </c:pt>
                <c:pt idx="31">
                  <c:v>3.5255559999999999</c:v>
                </c:pt>
                <c:pt idx="32">
                  <c:v>5.0766432000000004</c:v>
                </c:pt>
                <c:pt idx="33">
                  <c:v>5.2174991999999998</c:v>
                </c:pt>
                <c:pt idx="34">
                  <c:v>9.1653470000000006</c:v>
                </c:pt>
                <c:pt idx="35">
                  <c:v>14.3694556</c:v>
                </c:pt>
                <c:pt idx="36">
                  <c:v>29.405102400000001</c:v>
                </c:pt>
                <c:pt idx="37">
                  <c:v>37.797833500000003</c:v>
                </c:pt>
                <c:pt idx="38">
                  <c:v>54.869261000000002</c:v>
                </c:pt>
                <c:pt idx="39">
                  <c:v>92.493066499999998</c:v>
                </c:pt>
                <c:pt idx="40">
                  <c:v>196.9642034</c:v>
                </c:pt>
                <c:pt idx="41">
                  <c:v>333.37948060000002</c:v>
                </c:pt>
                <c:pt idx="42">
                  <c:v>470.90410509999998</c:v>
                </c:pt>
                <c:pt idx="43">
                  <c:v>366.1679767</c:v>
                </c:pt>
                <c:pt idx="44">
                  <c:v>283.54715529999999</c:v>
                </c:pt>
                <c:pt idx="45">
                  <c:v>183.54884300000001</c:v>
                </c:pt>
                <c:pt idx="46">
                  <c:v>177.38118589999999</c:v>
                </c:pt>
                <c:pt idx="47">
                  <c:v>133.9763456</c:v>
                </c:pt>
                <c:pt idx="48">
                  <c:v>166.04146589999999</c:v>
                </c:pt>
                <c:pt idx="49">
                  <c:v>166.5820579</c:v>
                </c:pt>
                <c:pt idx="50">
                  <c:v>193.45120549999999</c:v>
                </c:pt>
                <c:pt idx="51">
                  <c:v>198.81128570000001</c:v>
                </c:pt>
                <c:pt idx="52">
                  <c:v>298.3166418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C63-4AAB-97B9-1EE2E94FBFD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242.22291419999999</c:v>
                </c:pt>
                <c:pt idx="1">
                  <c:v>181.72676430000001</c:v>
                </c:pt>
                <c:pt idx="2">
                  <c:v>148.0352068</c:v>
                </c:pt>
                <c:pt idx="3">
                  <c:v>113.6018442</c:v>
                </c:pt>
                <c:pt idx="4">
                  <c:v>93.126539600000001</c:v>
                </c:pt>
                <c:pt idx="5">
                  <c:v>88.9698238</c:v>
                </c:pt>
                <c:pt idx="6">
                  <c:v>88.695550699999998</c:v>
                </c:pt>
                <c:pt idx="7">
                  <c:v>103.6902341</c:v>
                </c:pt>
                <c:pt idx="8">
                  <c:v>105.42100379999999</c:v>
                </c:pt>
                <c:pt idx="9">
                  <c:v>93.650366399999996</c:v>
                </c:pt>
                <c:pt idx="10">
                  <c:v>80.426872500000002</c:v>
                </c:pt>
                <c:pt idx="11">
                  <c:v>62.366777599999999</c:v>
                </c:pt>
                <c:pt idx="12">
                  <c:v>41.971176999999997</c:v>
                </c:pt>
                <c:pt idx="13">
                  <c:v>36.126417500000002</c:v>
                </c:pt>
                <c:pt idx="14">
                  <c:v>22.956079200000001</c:v>
                </c:pt>
                <c:pt idx="15">
                  <c:v>19.066698899999999</c:v>
                </c:pt>
                <c:pt idx="16">
                  <c:v>8.8345196999999995</c:v>
                </c:pt>
                <c:pt idx="17">
                  <c:v>11.4502974</c:v>
                </c:pt>
                <c:pt idx="18">
                  <c:v>8.8318498000000005</c:v>
                </c:pt>
                <c:pt idx="19">
                  <c:v>4.2795040000000002</c:v>
                </c:pt>
                <c:pt idx="20">
                  <c:v>3.5905849000000001</c:v>
                </c:pt>
                <c:pt idx="21">
                  <c:v>1.3814826</c:v>
                </c:pt>
                <c:pt idx="22">
                  <c:v>1.5198701999999999</c:v>
                </c:pt>
                <c:pt idx="23">
                  <c:v>0.69092359999999997</c:v>
                </c:pt>
                <c:pt idx="24">
                  <c:v>1.1055923000000001</c:v>
                </c:pt>
                <c:pt idx="25">
                  <c:v>0.69106780000000001</c:v>
                </c:pt>
                <c:pt idx="26">
                  <c:v>1.1051708</c:v>
                </c:pt>
                <c:pt idx="27">
                  <c:v>1.1041137000000001</c:v>
                </c:pt>
                <c:pt idx="28">
                  <c:v>1.5167079000000001</c:v>
                </c:pt>
                <c:pt idx="29">
                  <c:v>1.2397598999999999</c:v>
                </c:pt>
                <c:pt idx="30">
                  <c:v>0.96358999999999995</c:v>
                </c:pt>
                <c:pt idx="31">
                  <c:v>0.96383680000000005</c:v>
                </c:pt>
                <c:pt idx="32">
                  <c:v>2.0660530000000001</c:v>
                </c:pt>
                <c:pt idx="33">
                  <c:v>0.96447819999999995</c:v>
                </c:pt>
                <c:pt idx="34">
                  <c:v>1.2404297</c:v>
                </c:pt>
                <c:pt idx="35">
                  <c:v>2.8929643999999999</c:v>
                </c:pt>
                <c:pt idx="36">
                  <c:v>2.3399893999999999</c:v>
                </c:pt>
                <c:pt idx="37">
                  <c:v>5.3637737999999997</c:v>
                </c:pt>
                <c:pt idx="38">
                  <c:v>6.5961246999999998</c:v>
                </c:pt>
                <c:pt idx="39">
                  <c:v>9.2017799</c:v>
                </c:pt>
                <c:pt idx="40">
                  <c:v>10.9869132</c:v>
                </c:pt>
                <c:pt idx="41">
                  <c:v>18.814933799999999</c:v>
                </c:pt>
                <c:pt idx="42">
                  <c:v>44.084262699999996</c:v>
                </c:pt>
                <c:pt idx="43">
                  <c:v>70.177655200000004</c:v>
                </c:pt>
                <c:pt idx="44">
                  <c:v>99.297910200000004</c:v>
                </c:pt>
                <c:pt idx="45">
                  <c:v>116.19841630000001</c:v>
                </c:pt>
                <c:pt idx="46">
                  <c:v>156.3141722</c:v>
                </c:pt>
                <c:pt idx="47">
                  <c:v>142.5896645</c:v>
                </c:pt>
                <c:pt idx="48">
                  <c:v>109.9491622</c:v>
                </c:pt>
                <c:pt idx="49">
                  <c:v>86.230015399999999</c:v>
                </c:pt>
                <c:pt idx="50">
                  <c:v>56.561553000000004</c:v>
                </c:pt>
                <c:pt idx="51">
                  <c:v>42.965855900000001</c:v>
                </c:pt>
                <c:pt idx="52">
                  <c:v>42.9153505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C63-4AAB-97B9-1EE2E94FBFD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BC63-4AAB-97B9-1EE2E94FBFD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46.630144299999998</c:v>
                </c:pt>
                <c:pt idx="1">
                  <c:v>60.151498799999999</c:v>
                </c:pt>
                <c:pt idx="2">
                  <c:v>158.2822357</c:v>
                </c:pt>
                <c:pt idx="3">
                  <c:v>290.49009610000002</c:v>
                </c:pt>
                <c:pt idx="4">
                  <c:v>328.7770385</c:v>
                </c:pt>
                <c:pt idx="5">
                  <c:v>271.85531500000002</c:v>
                </c:pt>
                <c:pt idx="6">
                  <c:v>199.10132709999999</c:v>
                </c:pt>
                <c:pt idx="7">
                  <c:v>121.96481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C63-4AAB-97B9-1EE2E94FBF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84</c:f>
              <c:numCache>
                <c:formatCode>m/d/yyyy</c:formatCode>
                <c:ptCount val="250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</c:numCache>
            </c:numRef>
          </c:cat>
          <c:val>
            <c:numRef>
              <c:f>Sheet1!$B$135:$B$384</c:f>
              <c:numCache>
                <c:formatCode>General</c:formatCode>
                <c:ptCount val="250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5</c:v>
                </c:pt>
                <c:pt idx="18">
                  <c:v>4</c:v>
                </c:pt>
                <c:pt idx="19">
                  <c:v>0</c:v>
                </c:pt>
                <c:pt idx="20">
                  <c:v>1</c:v>
                </c:pt>
                <c:pt idx="21">
                  <c:v>2</c:v>
                </c:pt>
                <c:pt idx="22">
                  <c:v>0</c:v>
                </c:pt>
                <c:pt idx="23">
                  <c:v>4</c:v>
                </c:pt>
                <c:pt idx="24">
                  <c:v>2</c:v>
                </c:pt>
                <c:pt idx="25">
                  <c:v>5</c:v>
                </c:pt>
                <c:pt idx="26">
                  <c:v>1</c:v>
                </c:pt>
                <c:pt idx="27">
                  <c:v>1</c:v>
                </c:pt>
                <c:pt idx="28">
                  <c:v>4</c:v>
                </c:pt>
                <c:pt idx="29">
                  <c:v>5</c:v>
                </c:pt>
                <c:pt idx="30">
                  <c:v>1</c:v>
                </c:pt>
                <c:pt idx="31">
                  <c:v>3</c:v>
                </c:pt>
                <c:pt idx="32">
                  <c:v>2</c:v>
                </c:pt>
                <c:pt idx="33">
                  <c:v>0</c:v>
                </c:pt>
                <c:pt idx="34">
                  <c:v>2</c:v>
                </c:pt>
                <c:pt idx="35">
                  <c:v>3</c:v>
                </c:pt>
                <c:pt idx="36">
                  <c:v>4</c:v>
                </c:pt>
                <c:pt idx="37">
                  <c:v>1</c:v>
                </c:pt>
                <c:pt idx="38">
                  <c:v>4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2</c:v>
                </c:pt>
                <c:pt idx="43">
                  <c:v>4</c:v>
                </c:pt>
                <c:pt idx="44">
                  <c:v>3</c:v>
                </c:pt>
                <c:pt idx="45">
                  <c:v>1</c:v>
                </c:pt>
                <c:pt idx="46">
                  <c:v>4</c:v>
                </c:pt>
                <c:pt idx="47">
                  <c:v>1</c:v>
                </c:pt>
                <c:pt idx="48">
                  <c:v>0</c:v>
                </c:pt>
                <c:pt idx="49">
                  <c:v>8</c:v>
                </c:pt>
                <c:pt idx="50">
                  <c:v>1</c:v>
                </c:pt>
                <c:pt idx="51">
                  <c:v>1</c:v>
                </c:pt>
                <c:pt idx="52">
                  <c:v>2</c:v>
                </c:pt>
                <c:pt idx="53">
                  <c:v>7</c:v>
                </c:pt>
                <c:pt idx="54">
                  <c:v>2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0</c:v>
                </c:pt>
                <c:pt idx="60">
                  <c:v>3</c:v>
                </c:pt>
                <c:pt idx="61">
                  <c:v>2</c:v>
                </c:pt>
                <c:pt idx="62">
                  <c:v>2</c:v>
                </c:pt>
                <c:pt idx="63">
                  <c:v>1</c:v>
                </c:pt>
                <c:pt idx="64">
                  <c:v>3</c:v>
                </c:pt>
                <c:pt idx="65">
                  <c:v>5</c:v>
                </c:pt>
                <c:pt idx="66">
                  <c:v>2</c:v>
                </c:pt>
                <c:pt idx="67">
                  <c:v>2</c:v>
                </c:pt>
                <c:pt idx="68">
                  <c:v>0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2</c:v>
                </c:pt>
                <c:pt idx="73">
                  <c:v>5</c:v>
                </c:pt>
                <c:pt idx="74">
                  <c:v>6</c:v>
                </c:pt>
                <c:pt idx="75">
                  <c:v>5</c:v>
                </c:pt>
                <c:pt idx="76">
                  <c:v>1</c:v>
                </c:pt>
                <c:pt idx="77">
                  <c:v>5</c:v>
                </c:pt>
                <c:pt idx="78">
                  <c:v>4</c:v>
                </c:pt>
                <c:pt idx="79">
                  <c:v>1</c:v>
                </c:pt>
                <c:pt idx="80">
                  <c:v>3</c:v>
                </c:pt>
                <c:pt idx="81">
                  <c:v>2</c:v>
                </c:pt>
                <c:pt idx="82">
                  <c:v>0</c:v>
                </c:pt>
                <c:pt idx="83">
                  <c:v>3</c:v>
                </c:pt>
                <c:pt idx="84">
                  <c:v>2</c:v>
                </c:pt>
                <c:pt idx="85">
                  <c:v>3</c:v>
                </c:pt>
                <c:pt idx="86">
                  <c:v>5</c:v>
                </c:pt>
                <c:pt idx="87">
                  <c:v>7</c:v>
                </c:pt>
                <c:pt idx="88">
                  <c:v>4</c:v>
                </c:pt>
                <c:pt idx="89">
                  <c:v>2</c:v>
                </c:pt>
                <c:pt idx="90">
                  <c:v>6</c:v>
                </c:pt>
                <c:pt idx="91">
                  <c:v>8</c:v>
                </c:pt>
                <c:pt idx="92">
                  <c:v>9</c:v>
                </c:pt>
                <c:pt idx="93">
                  <c:v>8</c:v>
                </c:pt>
                <c:pt idx="94">
                  <c:v>7</c:v>
                </c:pt>
                <c:pt idx="95">
                  <c:v>5</c:v>
                </c:pt>
                <c:pt idx="96">
                  <c:v>4</c:v>
                </c:pt>
                <c:pt idx="97">
                  <c:v>2</c:v>
                </c:pt>
                <c:pt idx="98">
                  <c:v>8</c:v>
                </c:pt>
                <c:pt idx="99">
                  <c:v>6</c:v>
                </c:pt>
                <c:pt idx="100">
                  <c:v>9</c:v>
                </c:pt>
                <c:pt idx="101">
                  <c:v>12</c:v>
                </c:pt>
                <c:pt idx="102">
                  <c:v>11</c:v>
                </c:pt>
                <c:pt idx="103">
                  <c:v>4</c:v>
                </c:pt>
                <c:pt idx="104">
                  <c:v>7</c:v>
                </c:pt>
                <c:pt idx="105">
                  <c:v>10</c:v>
                </c:pt>
                <c:pt idx="106">
                  <c:v>13</c:v>
                </c:pt>
                <c:pt idx="107">
                  <c:v>13</c:v>
                </c:pt>
                <c:pt idx="108">
                  <c:v>16</c:v>
                </c:pt>
                <c:pt idx="109">
                  <c:v>10</c:v>
                </c:pt>
                <c:pt idx="110">
                  <c:v>8</c:v>
                </c:pt>
                <c:pt idx="111">
                  <c:v>5</c:v>
                </c:pt>
                <c:pt idx="112">
                  <c:v>19</c:v>
                </c:pt>
                <c:pt idx="113">
                  <c:v>31</c:v>
                </c:pt>
                <c:pt idx="114">
                  <c:v>18</c:v>
                </c:pt>
                <c:pt idx="115">
                  <c:v>19</c:v>
                </c:pt>
                <c:pt idx="116">
                  <c:v>14</c:v>
                </c:pt>
                <c:pt idx="117">
                  <c:v>9</c:v>
                </c:pt>
                <c:pt idx="118">
                  <c:v>13</c:v>
                </c:pt>
                <c:pt idx="119">
                  <c:v>39</c:v>
                </c:pt>
                <c:pt idx="120">
                  <c:v>56</c:v>
                </c:pt>
                <c:pt idx="121">
                  <c:v>50</c:v>
                </c:pt>
                <c:pt idx="122">
                  <c:v>54</c:v>
                </c:pt>
                <c:pt idx="123">
                  <c:v>46</c:v>
                </c:pt>
                <c:pt idx="124">
                  <c:v>28</c:v>
                </c:pt>
                <c:pt idx="125">
                  <c:v>22</c:v>
                </c:pt>
                <c:pt idx="126">
                  <c:v>81</c:v>
                </c:pt>
                <c:pt idx="127">
                  <c:v>87</c:v>
                </c:pt>
                <c:pt idx="128">
                  <c:v>65</c:v>
                </c:pt>
                <c:pt idx="129">
                  <c:v>41</c:v>
                </c:pt>
                <c:pt idx="130">
                  <c:v>83</c:v>
                </c:pt>
                <c:pt idx="131">
                  <c:v>56</c:v>
                </c:pt>
                <c:pt idx="132">
                  <c:v>42</c:v>
                </c:pt>
                <c:pt idx="133">
                  <c:v>136</c:v>
                </c:pt>
                <c:pt idx="134">
                  <c:v>128</c:v>
                </c:pt>
                <c:pt idx="135">
                  <c:v>107</c:v>
                </c:pt>
                <c:pt idx="136">
                  <c:v>116</c:v>
                </c:pt>
                <c:pt idx="137">
                  <c:v>133</c:v>
                </c:pt>
                <c:pt idx="138">
                  <c:v>55</c:v>
                </c:pt>
                <c:pt idx="139">
                  <c:v>39</c:v>
                </c:pt>
                <c:pt idx="140">
                  <c:v>129</c:v>
                </c:pt>
                <c:pt idx="141">
                  <c:v>150</c:v>
                </c:pt>
                <c:pt idx="142">
                  <c:v>144</c:v>
                </c:pt>
                <c:pt idx="143">
                  <c:v>121</c:v>
                </c:pt>
                <c:pt idx="144">
                  <c:v>170</c:v>
                </c:pt>
                <c:pt idx="145">
                  <c:v>97</c:v>
                </c:pt>
                <c:pt idx="146">
                  <c:v>53</c:v>
                </c:pt>
                <c:pt idx="147">
                  <c:v>166</c:v>
                </c:pt>
                <c:pt idx="148">
                  <c:v>201</c:v>
                </c:pt>
                <c:pt idx="149">
                  <c:v>144</c:v>
                </c:pt>
                <c:pt idx="150">
                  <c:v>166</c:v>
                </c:pt>
                <c:pt idx="151">
                  <c:v>257</c:v>
                </c:pt>
                <c:pt idx="152">
                  <c:v>125</c:v>
                </c:pt>
                <c:pt idx="153">
                  <c:v>91</c:v>
                </c:pt>
                <c:pt idx="154">
                  <c:v>205</c:v>
                </c:pt>
                <c:pt idx="155">
                  <c:v>216</c:v>
                </c:pt>
                <c:pt idx="156">
                  <c:v>184</c:v>
                </c:pt>
                <c:pt idx="157">
                  <c:v>263</c:v>
                </c:pt>
                <c:pt idx="158">
                  <c:v>158</c:v>
                </c:pt>
                <c:pt idx="159">
                  <c:v>117</c:v>
                </c:pt>
                <c:pt idx="160">
                  <c:v>83</c:v>
                </c:pt>
                <c:pt idx="161">
                  <c:v>210</c:v>
                </c:pt>
                <c:pt idx="162">
                  <c:v>193</c:v>
                </c:pt>
                <c:pt idx="163">
                  <c:v>171</c:v>
                </c:pt>
                <c:pt idx="164">
                  <c:v>131</c:v>
                </c:pt>
                <c:pt idx="165">
                  <c:v>161</c:v>
                </c:pt>
                <c:pt idx="166">
                  <c:v>100</c:v>
                </c:pt>
                <c:pt idx="167">
                  <c:v>66</c:v>
                </c:pt>
                <c:pt idx="168">
                  <c:v>199</c:v>
                </c:pt>
                <c:pt idx="169">
                  <c:v>168</c:v>
                </c:pt>
                <c:pt idx="170">
                  <c:v>142</c:v>
                </c:pt>
                <c:pt idx="171">
                  <c:v>116</c:v>
                </c:pt>
                <c:pt idx="172">
                  <c:v>100</c:v>
                </c:pt>
                <c:pt idx="173">
                  <c:v>78</c:v>
                </c:pt>
                <c:pt idx="174">
                  <c:v>62</c:v>
                </c:pt>
                <c:pt idx="175">
                  <c:v>122</c:v>
                </c:pt>
                <c:pt idx="176">
                  <c:v>172</c:v>
                </c:pt>
                <c:pt idx="177">
                  <c:v>97</c:v>
                </c:pt>
                <c:pt idx="178">
                  <c:v>89</c:v>
                </c:pt>
                <c:pt idx="179">
                  <c:v>97</c:v>
                </c:pt>
                <c:pt idx="180">
                  <c:v>64</c:v>
                </c:pt>
                <c:pt idx="181">
                  <c:v>43</c:v>
                </c:pt>
                <c:pt idx="182">
                  <c:v>106</c:v>
                </c:pt>
                <c:pt idx="183">
                  <c:v>97</c:v>
                </c:pt>
                <c:pt idx="184">
                  <c:v>44</c:v>
                </c:pt>
                <c:pt idx="185">
                  <c:v>75</c:v>
                </c:pt>
                <c:pt idx="186">
                  <c:v>22</c:v>
                </c:pt>
                <c:pt idx="187">
                  <c:v>14</c:v>
                </c:pt>
                <c:pt idx="188">
                  <c:v>22</c:v>
                </c:pt>
                <c:pt idx="189">
                  <c:v>70</c:v>
                </c:pt>
                <c:pt idx="190">
                  <c:v>95</c:v>
                </c:pt>
                <c:pt idx="191">
                  <c:v>67</c:v>
                </c:pt>
                <c:pt idx="192">
                  <c:v>66</c:v>
                </c:pt>
                <c:pt idx="193">
                  <c:v>76</c:v>
                </c:pt>
                <c:pt idx="194">
                  <c:v>15</c:v>
                </c:pt>
                <c:pt idx="195">
                  <c:v>27</c:v>
                </c:pt>
                <c:pt idx="196">
                  <c:v>100</c:v>
                </c:pt>
                <c:pt idx="197">
                  <c:v>96</c:v>
                </c:pt>
                <c:pt idx="198">
                  <c:v>84</c:v>
                </c:pt>
                <c:pt idx="199">
                  <c:v>78</c:v>
                </c:pt>
                <c:pt idx="200">
                  <c:v>76</c:v>
                </c:pt>
                <c:pt idx="201">
                  <c:v>35</c:v>
                </c:pt>
                <c:pt idx="202">
                  <c:v>29</c:v>
                </c:pt>
                <c:pt idx="203">
                  <c:v>84</c:v>
                </c:pt>
                <c:pt idx="204">
                  <c:v>116</c:v>
                </c:pt>
                <c:pt idx="205">
                  <c:v>114</c:v>
                </c:pt>
                <c:pt idx="206">
                  <c:v>93</c:v>
                </c:pt>
                <c:pt idx="207">
                  <c:v>108</c:v>
                </c:pt>
                <c:pt idx="208">
                  <c:v>79</c:v>
                </c:pt>
                <c:pt idx="209">
                  <c:v>69</c:v>
                </c:pt>
                <c:pt idx="210">
                  <c:v>216</c:v>
                </c:pt>
                <c:pt idx="211">
                  <c:v>247</c:v>
                </c:pt>
                <c:pt idx="212">
                  <c:v>299</c:v>
                </c:pt>
                <c:pt idx="213">
                  <c:v>299</c:v>
                </c:pt>
                <c:pt idx="214">
                  <c:v>264</c:v>
                </c:pt>
                <c:pt idx="215">
                  <c:v>177</c:v>
                </c:pt>
                <c:pt idx="216">
                  <c:v>166</c:v>
                </c:pt>
                <c:pt idx="217">
                  <c:v>363</c:v>
                </c:pt>
                <c:pt idx="218">
                  <c:v>355</c:v>
                </c:pt>
                <c:pt idx="219">
                  <c:v>439</c:v>
                </c:pt>
                <c:pt idx="220">
                  <c:v>647</c:v>
                </c:pt>
                <c:pt idx="221">
                  <c:v>537</c:v>
                </c:pt>
                <c:pt idx="222">
                  <c:v>221</c:v>
                </c:pt>
                <c:pt idx="223">
                  <c:v>238</c:v>
                </c:pt>
                <c:pt idx="224">
                  <c:v>515</c:v>
                </c:pt>
                <c:pt idx="225">
                  <c:v>648</c:v>
                </c:pt>
                <c:pt idx="226">
                  <c:v>510</c:v>
                </c:pt>
                <c:pt idx="227">
                  <c:v>481</c:v>
                </c:pt>
                <c:pt idx="228">
                  <c:v>413</c:v>
                </c:pt>
                <c:pt idx="229">
                  <c:v>274</c:v>
                </c:pt>
                <c:pt idx="230">
                  <c:v>150</c:v>
                </c:pt>
                <c:pt idx="231">
                  <c:v>574</c:v>
                </c:pt>
                <c:pt idx="232">
                  <c:v>483</c:v>
                </c:pt>
                <c:pt idx="233">
                  <c:v>409</c:v>
                </c:pt>
                <c:pt idx="234">
                  <c:v>351</c:v>
                </c:pt>
                <c:pt idx="235">
                  <c:v>306</c:v>
                </c:pt>
                <c:pt idx="236">
                  <c:v>158</c:v>
                </c:pt>
                <c:pt idx="237">
                  <c:v>120</c:v>
                </c:pt>
                <c:pt idx="238">
                  <c:v>331</c:v>
                </c:pt>
                <c:pt idx="239">
                  <c:v>368</c:v>
                </c:pt>
                <c:pt idx="240">
                  <c:v>252</c:v>
                </c:pt>
                <c:pt idx="241">
                  <c:v>232</c:v>
                </c:pt>
                <c:pt idx="242">
                  <c:v>194</c:v>
                </c:pt>
                <c:pt idx="243">
                  <c:v>107</c:v>
                </c:pt>
                <c:pt idx="244">
                  <c:v>69</c:v>
                </c:pt>
                <c:pt idx="245">
                  <c:v>261</c:v>
                </c:pt>
                <c:pt idx="246">
                  <c:v>209</c:v>
                </c:pt>
                <c:pt idx="247">
                  <c:v>164</c:v>
                </c:pt>
                <c:pt idx="248">
                  <c:v>169</c:v>
                </c:pt>
                <c:pt idx="249">
                  <c:v>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.32531850000000001</c:v>
                </c:pt>
                <c:pt idx="10">
                  <c:v>0.48797780000000002</c:v>
                </c:pt>
                <c:pt idx="11">
                  <c:v>3.9038227999999999</c:v>
                </c:pt>
                <c:pt idx="12">
                  <c:v>9.2715791000000003</c:v>
                </c:pt>
                <c:pt idx="13">
                  <c:v>10.7266317</c:v>
                </c:pt>
                <c:pt idx="14">
                  <c:v>10.8733225</c:v>
                </c:pt>
                <c:pt idx="15">
                  <c:v>9.0749542000000005</c:v>
                </c:pt>
                <c:pt idx="16">
                  <c:v>3.5599915000000002</c:v>
                </c:pt>
                <c:pt idx="17">
                  <c:v>3.7173098000000002</c:v>
                </c:pt>
                <c:pt idx="18">
                  <c:v>1.2926325999999999</c:v>
                </c:pt>
                <c:pt idx="19">
                  <c:v>0.80774919999999995</c:v>
                </c:pt>
                <c:pt idx="20">
                  <c:v>0.64608239999999995</c:v>
                </c:pt>
                <c:pt idx="21">
                  <c:v>1.6149036000000001</c:v>
                </c:pt>
                <c:pt idx="22">
                  <c:v>2.2603138</c:v>
                </c:pt>
                <c:pt idx="23">
                  <c:v>1.6140903</c:v>
                </c:pt>
                <c:pt idx="24">
                  <c:v>2.2591394</c:v>
                </c:pt>
                <c:pt idx="25">
                  <c:v>1.6132518</c:v>
                </c:pt>
                <c:pt idx="26">
                  <c:v>1.4515988</c:v>
                </c:pt>
                <c:pt idx="27">
                  <c:v>2.7415463</c:v>
                </c:pt>
                <c:pt idx="28">
                  <c:v>3.0636760000000001</c:v>
                </c:pt>
                <c:pt idx="29">
                  <c:v>4.0306262999999998</c:v>
                </c:pt>
                <c:pt idx="30">
                  <c:v>4.0298790999999996</c:v>
                </c:pt>
                <c:pt idx="31">
                  <c:v>5.1563917000000004</c:v>
                </c:pt>
                <c:pt idx="32">
                  <c:v>8.0538123000000006</c:v>
                </c:pt>
                <c:pt idx="33">
                  <c:v>5.6355445</c:v>
                </c:pt>
                <c:pt idx="34">
                  <c:v>5.311401</c:v>
                </c:pt>
                <c:pt idx="35">
                  <c:v>15.273753900000001</c:v>
                </c:pt>
                <c:pt idx="36">
                  <c:v>29.220283999999999</c:v>
                </c:pt>
                <c:pt idx="37">
                  <c:v>45.853467700000003</c:v>
                </c:pt>
                <c:pt idx="38">
                  <c:v>47.710611100000001</c:v>
                </c:pt>
                <c:pt idx="39">
                  <c:v>99.2661339</c:v>
                </c:pt>
                <c:pt idx="40">
                  <c:v>174.93735129999999</c:v>
                </c:pt>
                <c:pt idx="41">
                  <c:v>317.65512180000002</c:v>
                </c:pt>
                <c:pt idx="42">
                  <c:v>416.99028499999997</c:v>
                </c:pt>
                <c:pt idx="43">
                  <c:v>340.9536852</c:v>
                </c:pt>
                <c:pt idx="44">
                  <c:v>252.63877719999999</c:v>
                </c:pt>
                <c:pt idx="45">
                  <c:v>167.12600029999999</c:v>
                </c:pt>
                <c:pt idx="46">
                  <c:v>136.3127403</c:v>
                </c:pt>
                <c:pt idx="47">
                  <c:v>108.239497</c:v>
                </c:pt>
                <c:pt idx="48">
                  <c:v>123.92404310000001</c:v>
                </c:pt>
                <c:pt idx="49">
                  <c:v>138.53925820000001</c:v>
                </c:pt>
                <c:pt idx="50">
                  <c:v>165.0236678</c:v>
                </c:pt>
                <c:pt idx="51">
                  <c:v>182.09300200000001</c:v>
                </c:pt>
                <c:pt idx="52">
                  <c:v>313.0152722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87-4662-BB8A-7C8E4F3CFE2C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219.82130050000001</c:v>
                </c:pt>
                <c:pt idx="1">
                  <c:v>178.97271509999999</c:v>
                </c:pt>
                <c:pt idx="2">
                  <c:v>141.9499093</c:v>
                </c:pt>
                <c:pt idx="3">
                  <c:v>122.8362487</c:v>
                </c:pt>
                <c:pt idx="4">
                  <c:v>96.897274899999999</c:v>
                </c:pt>
                <c:pt idx="5">
                  <c:v>104.7083114</c:v>
                </c:pt>
                <c:pt idx="6">
                  <c:v>102.3014731</c:v>
                </c:pt>
                <c:pt idx="7">
                  <c:v>113.6959401</c:v>
                </c:pt>
                <c:pt idx="8">
                  <c:v>128.9063419</c:v>
                </c:pt>
                <c:pt idx="9">
                  <c:v>111.331638</c:v>
                </c:pt>
                <c:pt idx="10">
                  <c:v>96.636911499999997</c:v>
                </c:pt>
                <c:pt idx="11">
                  <c:v>65.118667500000001</c:v>
                </c:pt>
                <c:pt idx="12">
                  <c:v>52.834117800000001</c:v>
                </c:pt>
                <c:pt idx="13">
                  <c:v>27.290303999999999</c:v>
                </c:pt>
                <c:pt idx="14">
                  <c:v>27.683278600000001</c:v>
                </c:pt>
                <c:pt idx="15">
                  <c:v>20.0969254</c:v>
                </c:pt>
                <c:pt idx="16">
                  <c:v>12.0893078</c:v>
                </c:pt>
                <c:pt idx="17">
                  <c:v>13.2891583</c:v>
                </c:pt>
                <c:pt idx="18">
                  <c:v>10.390324700000001</c:v>
                </c:pt>
                <c:pt idx="19">
                  <c:v>6.7264505000000003</c:v>
                </c:pt>
                <c:pt idx="20">
                  <c:v>3.2119274999999998</c:v>
                </c:pt>
                <c:pt idx="21">
                  <c:v>1.3771827999999999</c:v>
                </c:pt>
                <c:pt idx="22">
                  <c:v>1.5305146000000001</c:v>
                </c:pt>
                <c:pt idx="23">
                  <c:v>0.45921339999999999</c:v>
                </c:pt>
                <c:pt idx="24">
                  <c:v>1.2247266000000001</c:v>
                </c:pt>
                <c:pt idx="25">
                  <c:v>0.91866309999999995</c:v>
                </c:pt>
                <c:pt idx="26">
                  <c:v>0.4592099</c:v>
                </c:pt>
                <c:pt idx="27">
                  <c:v>2.4476507999999999</c:v>
                </c:pt>
                <c:pt idx="28">
                  <c:v>2.9048699999999998</c:v>
                </c:pt>
                <c:pt idx="29">
                  <c:v>2.2919483</c:v>
                </c:pt>
                <c:pt idx="30">
                  <c:v>2.1386224</c:v>
                </c:pt>
                <c:pt idx="31">
                  <c:v>2.140784</c:v>
                </c:pt>
                <c:pt idx="32">
                  <c:v>2.1431665</c:v>
                </c:pt>
                <c:pt idx="33">
                  <c:v>2.4520583999999999</c:v>
                </c:pt>
                <c:pt idx="34">
                  <c:v>1.3808001000000001</c:v>
                </c:pt>
                <c:pt idx="35">
                  <c:v>3.9912928000000001</c:v>
                </c:pt>
                <c:pt idx="36">
                  <c:v>2.7641361999999998</c:v>
                </c:pt>
                <c:pt idx="37">
                  <c:v>6.6054560999999996</c:v>
                </c:pt>
                <c:pt idx="38">
                  <c:v>5.6856859999999996</c:v>
                </c:pt>
                <c:pt idx="39">
                  <c:v>9.9937115999999993</c:v>
                </c:pt>
                <c:pt idx="40">
                  <c:v>15.8472753</c:v>
                </c:pt>
                <c:pt idx="41">
                  <c:v>29.561018799999999</c:v>
                </c:pt>
                <c:pt idx="42">
                  <c:v>55.927722199999998</c:v>
                </c:pt>
                <c:pt idx="43">
                  <c:v>87.724978300000004</c:v>
                </c:pt>
                <c:pt idx="44">
                  <c:v>112.4534914</c:v>
                </c:pt>
                <c:pt idx="45">
                  <c:v>139.3656163</c:v>
                </c:pt>
                <c:pt idx="46">
                  <c:v>181.12976789999999</c:v>
                </c:pt>
                <c:pt idx="47">
                  <c:v>171.49107620000001</c:v>
                </c:pt>
                <c:pt idx="48">
                  <c:v>140.04000250000001</c:v>
                </c:pt>
                <c:pt idx="49">
                  <c:v>107.619158</c:v>
                </c:pt>
                <c:pt idx="50">
                  <c:v>78.578168199999993</c:v>
                </c:pt>
                <c:pt idx="51">
                  <c:v>51.991699799999999</c:v>
                </c:pt>
                <c:pt idx="52">
                  <c:v>71.5051840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87-4662-BB8A-7C8E4F3CFE2C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7D87-4662-BB8A-7C8E4F3CFE2C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62.794689200000001</c:v>
                </c:pt>
                <c:pt idx="1">
                  <c:v>76.051777400000006</c:v>
                </c:pt>
                <c:pt idx="2">
                  <c:v>174.72589869999999</c:v>
                </c:pt>
                <c:pt idx="3">
                  <c:v>302.17768230000001</c:v>
                </c:pt>
                <c:pt idx="4">
                  <c:v>334.95660459999999</c:v>
                </c:pt>
                <c:pt idx="5">
                  <c:v>285.3980737</c:v>
                </c:pt>
                <c:pt idx="6">
                  <c:v>181.86986719999999</c:v>
                </c:pt>
                <c:pt idx="7">
                  <c:v>123.6577554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D87-4662-BB8A-7C8E4F3CFE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84</c:f>
              <c:numCache>
                <c:formatCode>m/d/yyyy</c:formatCode>
                <c:ptCount val="250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</c:numCache>
            </c:numRef>
          </c:cat>
          <c:val>
            <c:numRef>
              <c:f>Sheet1!$B$135:$B$384</c:f>
              <c:numCache>
                <c:formatCode>General</c:formatCode>
                <c:ptCount val="250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6</c:v>
                </c:pt>
                <c:pt idx="6">
                  <c:v>3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2</c:v>
                </c:pt>
                <c:pt idx="14">
                  <c:v>4</c:v>
                </c:pt>
                <c:pt idx="15">
                  <c:v>1</c:v>
                </c:pt>
                <c:pt idx="16">
                  <c:v>1</c:v>
                </c:pt>
                <c:pt idx="17">
                  <c:v>6</c:v>
                </c:pt>
                <c:pt idx="18">
                  <c:v>6</c:v>
                </c:pt>
                <c:pt idx="19">
                  <c:v>1</c:v>
                </c:pt>
                <c:pt idx="20">
                  <c:v>1</c:v>
                </c:pt>
                <c:pt idx="21">
                  <c:v>6</c:v>
                </c:pt>
                <c:pt idx="22">
                  <c:v>4</c:v>
                </c:pt>
                <c:pt idx="23">
                  <c:v>7</c:v>
                </c:pt>
                <c:pt idx="24">
                  <c:v>5</c:v>
                </c:pt>
                <c:pt idx="25">
                  <c:v>8</c:v>
                </c:pt>
                <c:pt idx="26">
                  <c:v>3</c:v>
                </c:pt>
                <c:pt idx="27">
                  <c:v>4</c:v>
                </c:pt>
                <c:pt idx="28">
                  <c:v>11</c:v>
                </c:pt>
                <c:pt idx="29">
                  <c:v>8</c:v>
                </c:pt>
                <c:pt idx="30">
                  <c:v>7</c:v>
                </c:pt>
                <c:pt idx="31">
                  <c:v>7</c:v>
                </c:pt>
                <c:pt idx="32">
                  <c:v>6</c:v>
                </c:pt>
                <c:pt idx="33">
                  <c:v>1</c:v>
                </c:pt>
                <c:pt idx="34">
                  <c:v>4</c:v>
                </c:pt>
                <c:pt idx="35">
                  <c:v>9</c:v>
                </c:pt>
                <c:pt idx="36">
                  <c:v>5</c:v>
                </c:pt>
                <c:pt idx="37">
                  <c:v>2</c:v>
                </c:pt>
                <c:pt idx="38">
                  <c:v>8</c:v>
                </c:pt>
                <c:pt idx="39">
                  <c:v>5</c:v>
                </c:pt>
                <c:pt idx="40">
                  <c:v>2</c:v>
                </c:pt>
                <c:pt idx="41">
                  <c:v>1</c:v>
                </c:pt>
                <c:pt idx="42">
                  <c:v>2</c:v>
                </c:pt>
                <c:pt idx="43">
                  <c:v>6</c:v>
                </c:pt>
                <c:pt idx="44">
                  <c:v>11</c:v>
                </c:pt>
                <c:pt idx="45">
                  <c:v>3</c:v>
                </c:pt>
                <c:pt idx="46">
                  <c:v>7</c:v>
                </c:pt>
                <c:pt idx="47">
                  <c:v>1</c:v>
                </c:pt>
                <c:pt idx="48">
                  <c:v>3</c:v>
                </c:pt>
                <c:pt idx="49">
                  <c:v>12</c:v>
                </c:pt>
                <c:pt idx="50">
                  <c:v>3</c:v>
                </c:pt>
                <c:pt idx="51">
                  <c:v>7</c:v>
                </c:pt>
                <c:pt idx="52">
                  <c:v>4</c:v>
                </c:pt>
                <c:pt idx="53">
                  <c:v>10</c:v>
                </c:pt>
                <c:pt idx="54">
                  <c:v>5</c:v>
                </c:pt>
                <c:pt idx="55">
                  <c:v>2</c:v>
                </c:pt>
                <c:pt idx="56">
                  <c:v>7</c:v>
                </c:pt>
                <c:pt idx="57">
                  <c:v>4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2</c:v>
                </c:pt>
                <c:pt idx="62">
                  <c:v>3</c:v>
                </c:pt>
                <c:pt idx="63">
                  <c:v>8</c:v>
                </c:pt>
                <c:pt idx="64">
                  <c:v>5</c:v>
                </c:pt>
                <c:pt idx="65">
                  <c:v>6</c:v>
                </c:pt>
                <c:pt idx="66">
                  <c:v>5</c:v>
                </c:pt>
                <c:pt idx="67">
                  <c:v>4</c:v>
                </c:pt>
                <c:pt idx="68">
                  <c:v>3</c:v>
                </c:pt>
                <c:pt idx="69">
                  <c:v>2</c:v>
                </c:pt>
                <c:pt idx="70">
                  <c:v>1</c:v>
                </c:pt>
                <c:pt idx="71">
                  <c:v>7</c:v>
                </c:pt>
                <c:pt idx="72">
                  <c:v>7</c:v>
                </c:pt>
                <c:pt idx="73">
                  <c:v>12</c:v>
                </c:pt>
                <c:pt idx="74">
                  <c:v>13</c:v>
                </c:pt>
                <c:pt idx="75">
                  <c:v>9</c:v>
                </c:pt>
                <c:pt idx="76">
                  <c:v>3</c:v>
                </c:pt>
                <c:pt idx="77">
                  <c:v>7</c:v>
                </c:pt>
                <c:pt idx="78">
                  <c:v>12</c:v>
                </c:pt>
                <c:pt idx="79">
                  <c:v>2</c:v>
                </c:pt>
                <c:pt idx="80">
                  <c:v>7</c:v>
                </c:pt>
                <c:pt idx="81">
                  <c:v>5</c:v>
                </c:pt>
                <c:pt idx="82">
                  <c:v>4</c:v>
                </c:pt>
                <c:pt idx="83">
                  <c:v>5</c:v>
                </c:pt>
                <c:pt idx="84">
                  <c:v>9</c:v>
                </c:pt>
                <c:pt idx="85">
                  <c:v>10</c:v>
                </c:pt>
                <c:pt idx="86">
                  <c:v>8</c:v>
                </c:pt>
                <c:pt idx="87">
                  <c:v>16</c:v>
                </c:pt>
                <c:pt idx="88">
                  <c:v>12</c:v>
                </c:pt>
                <c:pt idx="89">
                  <c:v>5</c:v>
                </c:pt>
                <c:pt idx="90">
                  <c:v>9</c:v>
                </c:pt>
                <c:pt idx="91">
                  <c:v>18</c:v>
                </c:pt>
                <c:pt idx="92">
                  <c:v>19</c:v>
                </c:pt>
                <c:pt idx="93">
                  <c:v>17</c:v>
                </c:pt>
                <c:pt idx="94">
                  <c:v>14</c:v>
                </c:pt>
                <c:pt idx="95">
                  <c:v>15</c:v>
                </c:pt>
                <c:pt idx="96">
                  <c:v>10</c:v>
                </c:pt>
                <c:pt idx="97">
                  <c:v>10</c:v>
                </c:pt>
                <c:pt idx="98">
                  <c:v>19</c:v>
                </c:pt>
                <c:pt idx="99">
                  <c:v>19</c:v>
                </c:pt>
                <c:pt idx="100">
                  <c:v>24</c:v>
                </c:pt>
                <c:pt idx="101">
                  <c:v>37</c:v>
                </c:pt>
                <c:pt idx="102">
                  <c:v>21</c:v>
                </c:pt>
                <c:pt idx="103">
                  <c:v>14</c:v>
                </c:pt>
                <c:pt idx="104">
                  <c:v>16</c:v>
                </c:pt>
                <c:pt idx="105">
                  <c:v>20</c:v>
                </c:pt>
                <c:pt idx="106">
                  <c:v>29</c:v>
                </c:pt>
                <c:pt idx="107">
                  <c:v>27</c:v>
                </c:pt>
                <c:pt idx="108">
                  <c:v>30</c:v>
                </c:pt>
                <c:pt idx="109">
                  <c:v>25</c:v>
                </c:pt>
                <c:pt idx="110">
                  <c:v>14</c:v>
                </c:pt>
                <c:pt idx="111">
                  <c:v>10</c:v>
                </c:pt>
                <c:pt idx="112">
                  <c:v>40</c:v>
                </c:pt>
                <c:pt idx="113">
                  <c:v>60</c:v>
                </c:pt>
                <c:pt idx="114">
                  <c:v>47</c:v>
                </c:pt>
                <c:pt idx="115">
                  <c:v>47</c:v>
                </c:pt>
                <c:pt idx="116">
                  <c:v>37</c:v>
                </c:pt>
                <c:pt idx="117">
                  <c:v>24</c:v>
                </c:pt>
                <c:pt idx="118">
                  <c:v>31</c:v>
                </c:pt>
                <c:pt idx="119">
                  <c:v>91</c:v>
                </c:pt>
                <c:pt idx="120">
                  <c:v>102</c:v>
                </c:pt>
                <c:pt idx="121">
                  <c:v>89</c:v>
                </c:pt>
                <c:pt idx="122">
                  <c:v>120</c:v>
                </c:pt>
                <c:pt idx="123">
                  <c:v>106</c:v>
                </c:pt>
                <c:pt idx="124">
                  <c:v>77</c:v>
                </c:pt>
                <c:pt idx="125">
                  <c:v>45</c:v>
                </c:pt>
                <c:pt idx="126">
                  <c:v>174</c:v>
                </c:pt>
                <c:pt idx="127">
                  <c:v>175</c:v>
                </c:pt>
                <c:pt idx="128">
                  <c:v>165</c:v>
                </c:pt>
                <c:pt idx="129">
                  <c:v>98</c:v>
                </c:pt>
                <c:pt idx="130">
                  <c:v>203</c:v>
                </c:pt>
                <c:pt idx="131">
                  <c:v>141</c:v>
                </c:pt>
                <c:pt idx="132">
                  <c:v>97</c:v>
                </c:pt>
                <c:pt idx="133">
                  <c:v>304</c:v>
                </c:pt>
                <c:pt idx="134">
                  <c:v>271</c:v>
                </c:pt>
                <c:pt idx="135">
                  <c:v>263</c:v>
                </c:pt>
                <c:pt idx="136">
                  <c:v>246</c:v>
                </c:pt>
                <c:pt idx="137">
                  <c:v>286</c:v>
                </c:pt>
                <c:pt idx="138">
                  <c:v>159</c:v>
                </c:pt>
                <c:pt idx="139">
                  <c:v>86</c:v>
                </c:pt>
                <c:pt idx="140">
                  <c:v>316</c:v>
                </c:pt>
                <c:pt idx="141">
                  <c:v>343</c:v>
                </c:pt>
                <c:pt idx="142">
                  <c:v>360</c:v>
                </c:pt>
                <c:pt idx="143">
                  <c:v>267</c:v>
                </c:pt>
                <c:pt idx="144">
                  <c:v>376</c:v>
                </c:pt>
                <c:pt idx="145">
                  <c:v>244</c:v>
                </c:pt>
                <c:pt idx="146">
                  <c:v>130</c:v>
                </c:pt>
                <c:pt idx="147">
                  <c:v>391</c:v>
                </c:pt>
                <c:pt idx="148">
                  <c:v>492</c:v>
                </c:pt>
                <c:pt idx="149">
                  <c:v>309</c:v>
                </c:pt>
                <c:pt idx="150">
                  <c:v>391</c:v>
                </c:pt>
                <c:pt idx="151">
                  <c:v>578</c:v>
                </c:pt>
                <c:pt idx="152">
                  <c:v>329</c:v>
                </c:pt>
                <c:pt idx="153">
                  <c:v>206</c:v>
                </c:pt>
                <c:pt idx="154">
                  <c:v>460</c:v>
                </c:pt>
                <c:pt idx="155">
                  <c:v>548</c:v>
                </c:pt>
                <c:pt idx="156">
                  <c:v>369</c:v>
                </c:pt>
                <c:pt idx="157">
                  <c:v>548</c:v>
                </c:pt>
                <c:pt idx="158">
                  <c:v>403</c:v>
                </c:pt>
                <c:pt idx="159">
                  <c:v>259</c:v>
                </c:pt>
                <c:pt idx="160">
                  <c:v>203</c:v>
                </c:pt>
                <c:pt idx="161">
                  <c:v>474</c:v>
                </c:pt>
                <c:pt idx="162">
                  <c:v>409</c:v>
                </c:pt>
                <c:pt idx="163">
                  <c:v>403</c:v>
                </c:pt>
                <c:pt idx="164">
                  <c:v>321</c:v>
                </c:pt>
                <c:pt idx="165">
                  <c:v>359</c:v>
                </c:pt>
                <c:pt idx="166">
                  <c:v>213</c:v>
                </c:pt>
                <c:pt idx="167">
                  <c:v>148</c:v>
                </c:pt>
                <c:pt idx="168">
                  <c:v>413</c:v>
                </c:pt>
                <c:pt idx="169">
                  <c:v>366</c:v>
                </c:pt>
                <c:pt idx="170">
                  <c:v>293</c:v>
                </c:pt>
                <c:pt idx="171">
                  <c:v>276</c:v>
                </c:pt>
                <c:pt idx="172">
                  <c:v>246</c:v>
                </c:pt>
                <c:pt idx="173">
                  <c:v>173</c:v>
                </c:pt>
                <c:pt idx="174">
                  <c:v>133</c:v>
                </c:pt>
                <c:pt idx="175">
                  <c:v>255</c:v>
                </c:pt>
                <c:pt idx="176">
                  <c:v>322</c:v>
                </c:pt>
                <c:pt idx="177">
                  <c:v>208</c:v>
                </c:pt>
                <c:pt idx="178">
                  <c:v>171</c:v>
                </c:pt>
                <c:pt idx="179">
                  <c:v>203</c:v>
                </c:pt>
                <c:pt idx="180">
                  <c:v>133</c:v>
                </c:pt>
                <c:pt idx="181">
                  <c:v>91</c:v>
                </c:pt>
                <c:pt idx="182">
                  <c:v>223</c:v>
                </c:pt>
                <c:pt idx="183">
                  <c:v>211</c:v>
                </c:pt>
                <c:pt idx="184">
                  <c:v>118</c:v>
                </c:pt>
                <c:pt idx="185">
                  <c:v>160</c:v>
                </c:pt>
                <c:pt idx="186">
                  <c:v>48</c:v>
                </c:pt>
                <c:pt idx="187">
                  <c:v>44</c:v>
                </c:pt>
                <c:pt idx="188">
                  <c:v>48</c:v>
                </c:pt>
                <c:pt idx="189">
                  <c:v>171</c:v>
                </c:pt>
                <c:pt idx="190">
                  <c:v>220</c:v>
                </c:pt>
                <c:pt idx="191">
                  <c:v>150</c:v>
                </c:pt>
                <c:pt idx="192">
                  <c:v>142</c:v>
                </c:pt>
                <c:pt idx="193">
                  <c:v>149</c:v>
                </c:pt>
                <c:pt idx="194">
                  <c:v>34</c:v>
                </c:pt>
                <c:pt idx="195">
                  <c:v>90</c:v>
                </c:pt>
                <c:pt idx="196">
                  <c:v>239</c:v>
                </c:pt>
                <c:pt idx="197">
                  <c:v>207</c:v>
                </c:pt>
                <c:pt idx="198">
                  <c:v>161</c:v>
                </c:pt>
                <c:pt idx="199">
                  <c:v>163</c:v>
                </c:pt>
                <c:pt idx="200">
                  <c:v>163</c:v>
                </c:pt>
                <c:pt idx="201">
                  <c:v>90</c:v>
                </c:pt>
                <c:pt idx="202">
                  <c:v>75</c:v>
                </c:pt>
                <c:pt idx="203">
                  <c:v>193</c:v>
                </c:pt>
                <c:pt idx="204">
                  <c:v>274</c:v>
                </c:pt>
                <c:pt idx="205">
                  <c:v>311</c:v>
                </c:pt>
                <c:pt idx="206">
                  <c:v>237</c:v>
                </c:pt>
                <c:pt idx="207">
                  <c:v>279</c:v>
                </c:pt>
                <c:pt idx="208">
                  <c:v>212</c:v>
                </c:pt>
                <c:pt idx="209">
                  <c:v>189</c:v>
                </c:pt>
                <c:pt idx="210">
                  <c:v>586</c:v>
                </c:pt>
                <c:pt idx="211">
                  <c:v>630</c:v>
                </c:pt>
                <c:pt idx="212">
                  <c:v>738</c:v>
                </c:pt>
                <c:pt idx="213">
                  <c:v>715</c:v>
                </c:pt>
                <c:pt idx="214">
                  <c:v>687</c:v>
                </c:pt>
                <c:pt idx="215">
                  <c:v>416</c:v>
                </c:pt>
                <c:pt idx="216">
                  <c:v>447</c:v>
                </c:pt>
                <c:pt idx="217">
                  <c:v>991</c:v>
                </c:pt>
                <c:pt idx="218">
                  <c:v>914</c:v>
                </c:pt>
                <c:pt idx="219">
                  <c:v>1064</c:v>
                </c:pt>
                <c:pt idx="220">
                  <c:v>1676</c:v>
                </c:pt>
                <c:pt idx="221">
                  <c:v>1346</c:v>
                </c:pt>
                <c:pt idx="222">
                  <c:v>511</c:v>
                </c:pt>
                <c:pt idx="223">
                  <c:v>681</c:v>
                </c:pt>
                <c:pt idx="224">
                  <c:v>1371</c:v>
                </c:pt>
                <c:pt idx="225">
                  <c:v>1605</c:v>
                </c:pt>
                <c:pt idx="226">
                  <c:v>1269</c:v>
                </c:pt>
                <c:pt idx="227">
                  <c:v>1182</c:v>
                </c:pt>
                <c:pt idx="228">
                  <c:v>976</c:v>
                </c:pt>
                <c:pt idx="229">
                  <c:v>701</c:v>
                </c:pt>
                <c:pt idx="230">
                  <c:v>384</c:v>
                </c:pt>
                <c:pt idx="231">
                  <c:v>1366</c:v>
                </c:pt>
                <c:pt idx="232">
                  <c:v>1165</c:v>
                </c:pt>
                <c:pt idx="233">
                  <c:v>957</c:v>
                </c:pt>
                <c:pt idx="234">
                  <c:v>835</c:v>
                </c:pt>
                <c:pt idx="235">
                  <c:v>768</c:v>
                </c:pt>
                <c:pt idx="236">
                  <c:v>414</c:v>
                </c:pt>
                <c:pt idx="237">
                  <c:v>320</c:v>
                </c:pt>
                <c:pt idx="238">
                  <c:v>915</c:v>
                </c:pt>
                <c:pt idx="239">
                  <c:v>885</c:v>
                </c:pt>
                <c:pt idx="240">
                  <c:v>656</c:v>
                </c:pt>
                <c:pt idx="241">
                  <c:v>583</c:v>
                </c:pt>
                <c:pt idx="242">
                  <c:v>503</c:v>
                </c:pt>
                <c:pt idx="243">
                  <c:v>282</c:v>
                </c:pt>
                <c:pt idx="244">
                  <c:v>203</c:v>
                </c:pt>
                <c:pt idx="245">
                  <c:v>655</c:v>
                </c:pt>
                <c:pt idx="246">
                  <c:v>520</c:v>
                </c:pt>
                <c:pt idx="247">
                  <c:v>403</c:v>
                </c:pt>
                <c:pt idx="248">
                  <c:v>395</c:v>
                </c:pt>
                <c:pt idx="249">
                  <c:v>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0623174724366597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91</c:f>
              <c:numCache>
                <c:formatCode>m/d/yyyy</c:formatCode>
                <c:ptCount val="390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  <c:pt idx="384">
                  <c:v>44612</c:v>
                </c:pt>
                <c:pt idx="385">
                  <c:v>44613</c:v>
                </c:pt>
                <c:pt idx="386">
                  <c:v>44614</c:v>
                </c:pt>
                <c:pt idx="387">
                  <c:v>44615</c:v>
                </c:pt>
                <c:pt idx="388">
                  <c:v>44616</c:v>
                </c:pt>
                <c:pt idx="389">
                  <c:v>44617</c:v>
                </c:pt>
              </c:numCache>
            </c:numRef>
          </c:cat>
          <c:val>
            <c:numRef>
              <c:f>List1!$B$2:$B$391</c:f>
              <c:numCache>
                <c:formatCode>General</c:formatCode>
                <c:ptCount val="390"/>
                <c:pt idx="0">
                  <c:v>18.951488309815002</c:v>
                </c:pt>
                <c:pt idx="1">
                  <c:v>26.588231384082999</c:v>
                </c:pt>
                <c:pt idx="2">
                  <c:v>22.197186401919001</c:v>
                </c:pt>
                <c:pt idx="3">
                  <c:v>22.322368698142</c:v>
                </c:pt>
                <c:pt idx="4">
                  <c:v>19.438399290075001</c:v>
                </c:pt>
                <c:pt idx="5">
                  <c:v>11.022834225052</c:v>
                </c:pt>
                <c:pt idx="6">
                  <c:v>5.1036465554630004</c:v>
                </c:pt>
                <c:pt idx="7">
                  <c:v>23.649098969329</c:v>
                </c:pt>
                <c:pt idx="8">
                  <c:v>30.116537907554999</c:v>
                </c:pt>
                <c:pt idx="9">
                  <c:v>27.527783081069</c:v>
                </c:pt>
                <c:pt idx="10">
                  <c:v>22.662581358667001</c:v>
                </c:pt>
                <c:pt idx="11">
                  <c:v>26.970471983258999</c:v>
                </c:pt>
                <c:pt idx="12">
                  <c:v>11.192463741080999</c:v>
                </c:pt>
                <c:pt idx="13">
                  <c:v>7.9500921275380003</c:v>
                </c:pt>
                <c:pt idx="14">
                  <c:v>31.612829060810999</c:v>
                </c:pt>
                <c:pt idx="15">
                  <c:v>32.080388518181998</c:v>
                </c:pt>
                <c:pt idx="16">
                  <c:v>32.506285395027</c:v>
                </c:pt>
                <c:pt idx="17">
                  <c:v>28.839145732068001</c:v>
                </c:pt>
                <c:pt idx="18">
                  <c:v>31.232330847311001</c:v>
                </c:pt>
                <c:pt idx="19">
                  <c:v>15.679235285848</c:v>
                </c:pt>
                <c:pt idx="20">
                  <c:v>7.5955685283039998</c:v>
                </c:pt>
                <c:pt idx="21">
                  <c:v>40.027797081305998</c:v>
                </c:pt>
                <c:pt idx="22">
                  <c:v>46.546478361562997</c:v>
                </c:pt>
                <c:pt idx="23">
                  <c:v>37.634906665430996</c:v>
                </c:pt>
                <c:pt idx="24">
                  <c:v>48.370446836748997</c:v>
                </c:pt>
                <c:pt idx="25">
                  <c:v>57.620628184890002</c:v>
                </c:pt>
                <c:pt idx="26">
                  <c:v>20.453465358446</c:v>
                </c:pt>
                <c:pt idx="27">
                  <c:v>10.233566096797</c:v>
                </c:pt>
                <c:pt idx="28">
                  <c:v>62.154569884281997</c:v>
                </c:pt>
                <c:pt idx="29">
                  <c:v>62.146579784517002</c:v>
                </c:pt>
                <c:pt idx="30">
                  <c:v>53.952819189838998</c:v>
                </c:pt>
                <c:pt idx="31">
                  <c:v>44.422476521782002</c:v>
                </c:pt>
                <c:pt idx="32">
                  <c:v>51.082829862643003</c:v>
                </c:pt>
                <c:pt idx="33">
                  <c:v>22.082158247054998</c:v>
                </c:pt>
                <c:pt idx="34">
                  <c:v>10.730223251762</c:v>
                </c:pt>
                <c:pt idx="35">
                  <c:v>50.144721474634999</c:v>
                </c:pt>
                <c:pt idx="36">
                  <c:v>53.678237308931003</c:v>
                </c:pt>
                <c:pt idx="37">
                  <c:v>48.178839853535997</c:v>
                </c:pt>
                <c:pt idx="38">
                  <c:v>45.861485395377002</c:v>
                </c:pt>
                <c:pt idx="39">
                  <c:v>53.962330392494003</c:v>
                </c:pt>
                <c:pt idx="40">
                  <c:v>20.807053591167001</c:v>
                </c:pt>
                <c:pt idx="41">
                  <c:v>7.8035584226400001</c:v>
                </c:pt>
                <c:pt idx="42">
                  <c:v>37.196311692039998</c:v>
                </c:pt>
                <c:pt idx="43">
                  <c:v>52.408841371538998</c:v>
                </c:pt>
                <c:pt idx="44">
                  <c:v>33.557267780417</c:v>
                </c:pt>
                <c:pt idx="45">
                  <c:v>35.669462976417996</c:v>
                </c:pt>
                <c:pt idx="46">
                  <c:v>29.898146979290001</c:v>
                </c:pt>
                <c:pt idx="47">
                  <c:v>11.959417709239</c:v>
                </c:pt>
                <c:pt idx="48">
                  <c:v>5.98022538805</c:v>
                </c:pt>
                <c:pt idx="49">
                  <c:v>45.425395468147997</c:v>
                </c:pt>
                <c:pt idx="50">
                  <c:v>32.224280995729998</c:v>
                </c:pt>
                <c:pt idx="51">
                  <c:v>24.979240226028001</c:v>
                </c:pt>
                <c:pt idx="52">
                  <c:v>27.914133402324001</c:v>
                </c:pt>
                <c:pt idx="53">
                  <c:v>23.370910090734</c:v>
                </c:pt>
                <c:pt idx="54">
                  <c:v>11.009578333148999</c:v>
                </c:pt>
                <c:pt idx="55">
                  <c:v>6.2015931203659997</c:v>
                </c:pt>
                <c:pt idx="56">
                  <c:v>31.302170283805999</c:v>
                </c:pt>
                <c:pt idx="57">
                  <c:v>33.004922649100997</c:v>
                </c:pt>
                <c:pt idx="58">
                  <c:v>24.141897553147</c:v>
                </c:pt>
                <c:pt idx="59">
                  <c:v>20.828844358255999</c:v>
                </c:pt>
                <c:pt idx="60">
                  <c:v>16.772650370455999</c:v>
                </c:pt>
                <c:pt idx="61">
                  <c:v>10.223455527968</c:v>
                </c:pt>
                <c:pt idx="62">
                  <c:v>14.617211766855</c:v>
                </c:pt>
                <c:pt idx="63">
                  <c:v>9.6119010122069994</c:v>
                </c:pt>
                <c:pt idx="64">
                  <c:v>26.938244075457</c:v>
                </c:pt>
                <c:pt idx="65">
                  <c:v>31.085097349426</c:v>
                </c:pt>
                <c:pt idx="66">
                  <c:v>24.605731597603999</c:v>
                </c:pt>
                <c:pt idx="67">
                  <c:v>25.044022696144999</c:v>
                </c:pt>
                <c:pt idx="68">
                  <c:v>7.8455986191739999</c:v>
                </c:pt>
                <c:pt idx="69">
                  <c:v>3.9272670148839999</c:v>
                </c:pt>
                <c:pt idx="70">
                  <c:v>12.732163035347</c:v>
                </c:pt>
                <c:pt idx="71">
                  <c:v>18.554971118784</c:v>
                </c:pt>
                <c:pt idx="72">
                  <c:v>22.105961240881001</c:v>
                </c:pt>
                <c:pt idx="73">
                  <c:v>16.675699337139999</c:v>
                </c:pt>
                <c:pt idx="74">
                  <c:v>15.934784796537</c:v>
                </c:pt>
                <c:pt idx="75">
                  <c:v>3.3672301165060001</c:v>
                </c:pt>
                <c:pt idx="76">
                  <c:v>3.3759832551229998</c:v>
                </c:pt>
                <c:pt idx="77">
                  <c:v>21.143615896616001</c:v>
                </c:pt>
                <c:pt idx="78">
                  <c:v>18.944939117853998</c:v>
                </c:pt>
                <c:pt idx="79">
                  <c:v>19.196537642665</c:v>
                </c:pt>
                <c:pt idx="80">
                  <c:v>13.293040650118</c:v>
                </c:pt>
                <c:pt idx="81">
                  <c:v>11.722060918647999</c:v>
                </c:pt>
                <c:pt idx="82">
                  <c:v>4.5367522298129996</c:v>
                </c:pt>
                <c:pt idx="83">
                  <c:v>0.91001747233499997</c:v>
                </c:pt>
                <c:pt idx="84">
                  <c:v>11.948090143744</c:v>
                </c:pt>
                <c:pt idx="85">
                  <c:v>13.944408292274</c:v>
                </c:pt>
                <c:pt idx="86">
                  <c:v>7.5262949931319998</c:v>
                </c:pt>
                <c:pt idx="87">
                  <c:v>16.170455626367001</c:v>
                </c:pt>
                <c:pt idx="88">
                  <c:v>11.568049048527</c:v>
                </c:pt>
                <c:pt idx="89">
                  <c:v>3.8639876352389999</c:v>
                </c:pt>
                <c:pt idx="90">
                  <c:v>4.8406927999529996</c:v>
                </c:pt>
                <c:pt idx="91">
                  <c:v>11.699327288679999</c:v>
                </c:pt>
                <c:pt idx="92">
                  <c:v>11.777522598120999</c:v>
                </c:pt>
                <c:pt idx="93">
                  <c:v>7.8974126101930002</c:v>
                </c:pt>
                <c:pt idx="94">
                  <c:v>4.9678086002699997</c:v>
                </c:pt>
                <c:pt idx="95">
                  <c:v>16.988957177833999</c:v>
                </c:pt>
                <c:pt idx="96">
                  <c:v>8.0079278485700005</c:v>
                </c:pt>
                <c:pt idx="97">
                  <c:v>2.0052336598520002</c:v>
                </c:pt>
                <c:pt idx="98">
                  <c:v>9.0515940862910007</c:v>
                </c:pt>
                <c:pt idx="99">
                  <c:v>16.157046491900999</c:v>
                </c:pt>
                <c:pt idx="100">
                  <c:v>5.0751631664949999</c:v>
                </c:pt>
                <c:pt idx="101">
                  <c:v>8.1560247535350001</c:v>
                </c:pt>
                <c:pt idx="102">
                  <c:v>6.1437640794590003</c:v>
                </c:pt>
                <c:pt idx="103">
                  <c:v>4.0986966144760002</c:v>
                </c:pt>
                <c:pt idx="104">
                  <c:v>1.0254201659119999</c:v>
                </c:pt>
                <c:pt idx="105">
                  <c:v>3.0835962955720002</c:v>
                </c:pt>
                <c:pt idx="106">
                  <c:v>7.2101766493269999</c:v>
                </c:pt>
                <c:pt idx="107">
                  <c:v>3.0983093558610002</c:v>
                </c:pt>
                <c:pt idx="108">
                  <c:v>4.1440900096349997</c:v>
                </c:pt>
                <c:pt idx="109">
                  <c:v>4.1604693009369997</c:v>
                </c:pt>
                <c:pt idx="110">
                  <c:v>1.0405718983150001</c:v>
                </c:pt>
                <c:pt idx="111">
                  <c:v>1.041742627066</c:v>
                </c:pt>
                <c:pt idx="112">
                  <c:v>1.0440157019959999</c:v>
                </c:pt>
                <c:pt idx="113">
                  <c:v>3.138567766909</c:v>
                </c:pt>
                <c:pt idx="114">
                  <c:v>7.3492356794890004</c:v>
                </c:pt>
                <c:pt idx="115">
                  <c:v>2.1071707018980002</c:v>
                </c:pt>
                <c:pt idx="116">
                  <c:v>3.1721191870909999</c:v>
                </c:pt>
                <c:pt idx="117">
                  <c:v>0</c:v>
                </c:pt>
                <c:pt idx="118">
                  <c:v>1.0633094443140001</c:v>
                </c:pt>
                <c:pt idx="119">
                  <c:v>4.2696269413449999</c:v>
                </c:pt>
                <c:pt idx="120">
                  <c:v>2.1512778590480002</c:v>
                </c:pt>
                <c:pt idx="121">
                  <c:v>0</c:v>
                </c:pt>
                <c:pt idx="122">
                  <c:v>4.3742618433129996</c:v>
                </c:pt>
                <c:pt idx="123">
                  <c:v>0</c:v>
                </c:pt>
                <c:pt idx="124">
                  <c:v>0</c:v>
                </c:pt>
                <c:pt idx="125">
                  <c:v>1.1068926203459999</c:v>
                </c:pt>
                <c:pt idx="126">
                  <c:v>0</c:v>
                </c:pt>
                <c:pt idx="127">
                  <c:v>1.123040294685</c:v>
                </c:pt>
                <c:pt idx="128">
                  <c:v>1.13085073901</c:v>
                </c:pt>
                <c:pt idx="129">
                  <c:v>1.14135707356</c:v>
                </c:pt>
                <c:pt idx="131">
                  <c:v>1.1573270374739999</c:v>
                </c:pt>
                <c:pt idx="132">
                  <c:v>1.1605505651879999</c:v>
                </c:pt>
                <c:pt idx="133">
                  <c:v>1.1678013803409999</c:v>
                </c:pt>
                <c:pt idx="135">
                  <c:v>0</c:v>
                </c:pt>
                <c:pt idx="136">
                  <c:v>2.385809206837</c:v>
                </c:pt>
                <c:pt idx="137">
                  <c:v>0</c:v>
                </c:pt>
                <c:pt idx="138">
                  <c:v>0</c:v>
                </c:pt>
                <c:pt idx="139">
                  <c:v>1.2092044643819999</c:v>
                </c:pt>
                <c:pt idx="141">
                  <c:v>1.2232415902139999</c:v>
                </c:pt>
                <c:pt idx="142">
                  <c:v>2.4619020655349999</c:v>
                </c:pt>
                <c:pt idx="143">
                  <c:v>2.4789905550450002</c:v>
                </c:pt>
                <c:pt idx="145">
                  <c:v>1.2542015752769999</c:v>
                </c:pt>
                <c:pt idx="146">
                  <c:v>1.2561709397409999</c:v>
                </c:pt>
                <c:pt idx="147">
                  <c:v>0</c:v>
                </c:pt>
                <c:pt idx="148">
                  <c:v>3.814998028917</c:v>
                </c:pt>
                <c:pt idx="150">
                  <c:v>1.289706849633</c:v>
                </c:pt>
                <c:pt idx="151">
                  <c:v>1.2996127154099999</c:v>
                </c:pt>
                <c:pt idx="153">
                  <c:v>1.3055171153289999</c:v>
                </c:pt>
                <c:pt idx="154">
                  <c:v>0</c:v>
                </c:pt>
                <c:pt idx="155">
                  <c:v>1.3218071747689999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1.354426265034</c:v>
                </c:pt>
                <c:pt idx="160">
                  <c:v>0</c:v>
                </c:pt>
                <c:pt idx="161">
                  <c:v>2.7301517964389999</c:v>
                </c:pt>
                <c:pt idx="162">
                  <c:v>4.1237113402060004</c:v>
                </c:pt>
                <c:pt idx="163">
                  <c:v>1.38483056598</c:v>
                </c:pt>
                <c:pt idx="164">
                  <c:v>4.1880139042059996</c:v>
                </c:pt>
                <c:pt idx="165">
                  <c:v>2.8133352088899999</c:v>
                </c:pt>
                <c:pt idx="166">
                  <c:v>1.4097413124689999</c:v>
                </c:pt>
                <c:pt idx="167">
                  <c:v>2.8233035474800001</c:v>
                </c:pt>
                <c:pt idx="168">
                  <c:v>2.8269350370319999</c:v>
                </c:pt>
                <c:pt idx="169">
                  <c:v>2.8313372405780002</c:v>
                </c:pt>
                <c:pt idx="170">
                  <c:v>5.7009292514669996</c:v>
                </c:pt>
                <c:pt idx="171">
                  <c:v>2.8675890744850001</c:v>
                </c:pt>
                <c:pt idx="172">
                  <c:v>1.44298062077</c:v>
                </c:pt>
                <c:pt idx="173">
                  <c:v>0</c:v>
                </c:pt>
                <c:pt idx="174">
                  <c:v>1.448708476393</c:v>
                </c:pt>
                <c:pt idx="175">
                  <c:v>4.3717121081850001</c:v>
                </c:pt>
                <c:pt idx="176">
                  <c:v>1.465265872492</c:v>
                </c:pt>
                <c:pt idx="177">
                  <c:v>0</c:v>
                </c:pt>
                <c:pt idx="178">
                  <c:v>5.9393885399490003</c:v>
                </c:pt>
                <c:pt idx="179">
                  <c:v>2.9901176611290001</c:v>
                </c:pt>
                <c:pt idx="180">
                  <c:v>1.4979253733569999</c:v>
                </c:pt>
                <c:pt idx="181">
                  <c:v>0</c:v>
                </c:pt>
                <c:pt idx="182">
                  <c:v>0</c:v>
                </c:pt>
                <c:pt idx="183">
                  <c:v>3.045901739209</c:v>
                </c:pt>
                <c:pt idx="184">
                  <c:v>7.6694174310510004</c:v>
                </c:pt>
                <c:pt idx="185">
                  <c:v>0</c:v>
                </c:pt>
                <c:pt idx="186">
                  <c:v>4.6647592984199999</c:v>
                </c:pt>
                <c:pt idx="187">
                  <c:v>1.5597460733390001</c:v>
                </c:pt>
                <c:pt idx="188">
                  <c:v>0</c:v>
                </c:pt>
                <c:pt idx="189">
                  <c:v>12.568735271013001</c:v>
                </c:pt>
                <c:pt idx="190">
                  <c:v>1.5805778592649999</c:v>
                </c:pt>
                <c:pt idx="191">
                  <c:v>4.771523547468</c:v>
                </c:pt>
                <c:pt idx="192">
                  <c:v>3.1977999136589998</c:v>
                </c:pt>
                <c:pt idx="193">
                  <c:v>9.6463022508030001</c:v>
                </c:pt>
                <c:pt idx="194">
                  <c:v>4.8337200309349999</c:v>
                </c:pt>
                <c:pt idx="195">
                  <c:v>1.6142571188729999</c:v>
                </c:pt>
                <c:pt idx="196">
                  <c:v>4.8645230335159999</c:v>
                </c:pt>
                <c:pt idx="197">
                  <c:v>3.2591868328850002</c:v>
                </c:pt>
                <c:pt idx="198">
                  <c:v>4.9151320532140002</c:v>
                </c:pt>
                <c:pt idx="199">
                  <c:v>0</c:v>
                </c:pt>
                <c:pt idx="200">
                  <c:v>3.3133428315820002</c:v>
                </c:pt>
                <c:pt idx="201">
                  <c:v>0</c:v>
                </c:pt>
                <c:pt idx="202">
                  <c:v>0</c:v>
                </c:pt>
                <c:pt idx="203">
                  <c:v>3.3486253892770002</c:v>
                </c:pt>
                <c:pt idx="204">
                  <c:v>3.3660966742960001</c:v>
                </c:pt>
                <c:pt idx="205">
                  <c:v>3.3870749220969998</c:v>
                </c:pt>
                <c:pt idx="206">
                  <c:v>5.1080349389580002</c:v>
                </c:pt>
                <c:pt idx="207">
                  <c:v>1.7135611227250001</c:v>
                </c:pt>
                <c:pt idx="208">
                  <c:v>0</c:v>
                </c:pt>
                <c:pt idx="209">
                  <c:v>3.4376074252320001</c:v>
                </c:pt>
                <c:pt idx="210">
                  <c:v>0</c:v>
                </c:pt>
                <c:pt idx="211">
                  <c:v>1.736412571627</c:v>
                </c:pt>
                <c:pt idx="212">
                  <c:v>3.491376300537</c:v>
                </c:pt>
                <c:pt idx="213">
                  <c:v>14.038535780718</c:v>
                </c:pt>
                <c:pt idx="214">
                  <c:v>7.0666384001129998</c:v>
                </c:pt>
                <c:pt idx="215">
                  <c:v>8.8436096076969992</c:v>
                </c:pt>
                <c:pt idx="216">
                  <c:v>1.770318834422</c:v>
                </c:pt>
                <c:pt idx="217">
                  <c:v>7.1170578083020004</c:v>
                </c:pt>
                <c:pt idx="218">
                  <c:v>8.9371894326669992</c:v>
                </c:pt>
                <c:pt idx="219">
                  <c:v>1.794945433658</c:v>
                </c:pt>
                <c:pt idx="220">
                  <c:v>5.4059898367389998</c:v>
                </c:pt>
                <c:pt idx="221">
                  <c:v>1.8096927141770001</c:v>
                </c:pt>
                <c:pt idx="222">
                  <c:v>1.8109380659180001</c:v>
                </c:pt>
                <c:pt idx="223">
                  <c:v>3.6242389098280001</c:v>
                </c:pt>
                <c:pt idx="224">
                  <c:v>3.633258851526</c:v>
                </c:pt>
                <c:pt idx="225">
                  <c:v>7.2865053920129998</c:v>
                </c:pt>
                <c:pt idx="226">
                  <c:v>5.4756516025400002</c:v>
                </c:pt>
                <c:pt idx="227">
                  <c:v>10.975743606629001</c:v>
                </c:pt>
                <c:pt idx="228">
                  <c:v>12.834381474487</c:v>
                </c:pt>
                <c:pt idx="229">
                  <c:v>3.667638590893</c:v>
                </c:pt>
                <c:pt idx="230">
                  <c:v>9.1682558310100006</c:v>
                </c:pt>
                <c:pt idx="231">
                  <c:v>16.536214309337002</c:v>
                </c:pt>
                <c:pt idx="232">
                  <c:v>14.720765479803999</c:v>
                </c:pt>
                <c:pt idx="233">
                  <c:v>14.743010891399001</c:v>
                </c:pt>
                <c:pt idx="234">
                  <c:v>9.2284976005899999</c:v>
                </c:pt>
                <c:pt idx="235">
                  <c:v>11.097342186545999</c:v>
                </c:pt>
                <c:pt idx="236">
                  <c:v>9.2476141155579992</c:v>
                </c:pt>
                <c:pt idx="237">
                  <c:v>9.246930019233</c:v>
                </c:pt>
                <c:pt idx="238">
                  <c:v>7.4061730452330004</c:v>
                </c:pt>
                <c:pt idx="239">
                  <c:v>12.980992118683</c:v>
                </c:pt>
                <c:pt idx="240">
                  <c:v>22.283294956547</c:v>
                </c:pt>
                <c:pt idx="241">
                  <c:v>35.337003422108999</c:v>
                </c:pt>
                <c:pt idx="242">
                  <c:v>29.820703023073001</c:v>
                </c:pt>
                <c:pt idx="243">
                  <c:v>13.051665951932</c:v>
                </c:pt>
                <c:pt idx="244">
                  <c:v>11.19089806957</c:v>
                </c:pt>
                <c:pt idx="245">
                  <c:v>18.687746444656</c:v>
                </c:pt>
                <c:pt idx="246">
                  <c:v>28.074641112504001</c:v>
                </c:pt>
                <c:pt idx="247">
                  <c:v>22.490441562335999</c:v>
                </c:pt>
                <c:pt idx="248">
                  <c:v>13.144552521875999</c:v>
                </c:pt>
                <c:pt idx="249">
                  <c:v>15.058256630338001</c:v>
                </c:pt>
                <c:pt idx="250">
                  <c:v>7.5325311187689996</c:v>
                </c:pt>
                <c:pt idx="251">
                  <c:v>9.4190339838739998</c:v>
                </c:pt>
                <c:pt idx="252">
                  <c:v>33.961623365595997</c:v>
                </c:pt>
                <c:pt idx="253">
                  <c:v>49.063083803521003</c:v>
                </c:pt>
                <c:pt idx="254">
                  <c:v>28.364502770266</c:v>
                </c:pt>
                <c:pt idx="255">
                  <c:v>45.451102189228003</c:v>
                </c:pt>
                <c:pt idx="256">
                  <c:v>22.762623771765998</c:v>
                </c:pt>
                <c:pt idx="257">
                  <c:v>15.180265654648</c:v>
                </c:pt>
                <c:pt idx="258">
                  <c:v>24.673549954447999</c:v>
                </c:pt>
                <c:pt idx="259">
                  <c:v>95.033546842034994</c:v>
                </c:pt>
                <c:pt idx="260">
                  <c:v>81.850195108023001</c:v>
                </c:pt>
                <c:pt idx="261">
                  <c:v>76.236944423267005</c:v>
                </c:pt>
                <c:pt idx="262">
                  <c:v>103.057368601855</c:v>
                </c:pt>
                <c:pt idx="263">
                  <c:v>84.131627755788003</c:v>
                </c:pt>
                <c:pt idx="264">
                  <c:v>53.556741454829996</c:v>
                </c:pt>
                <c:pt idx="265">
                  <c:v>32.522191613099999</c:v>
                </c:pt>
                <c:pt idx="266">
                  <c:v>107.294081581821</c:v>
                </c:pt>
                <c:pt idx="267">
                  <c:v>136.200579332041</c:v>
                </c:pt>
                <c:pt idx="268">
                  <c:v>144.031341219849</c:v>
                </c:pt>
                <c:pt idx="269">
                  <c:v>78.853735936147004</c:v>
                </c:pt>
                <c:pt idx="270">
                  <c:v>158.04182326298499</c:v>
                </c:pt>
                <c:pt idx="271">
                  <c:v>127.25835373966</c:v>
                </c:pt>
                <c:pt idx="272">
                  <c:v>61.714109388258002</c:v>
                </c:pt>
                <c:pt idx="273">
                  <c:v>204.676668790669</c:v>
                </c:pt>
                <c:pt idx="274">
                  <c:v>228.010511671046</c:v>
                </c:pt>
                <c:pt idx="275">
                  <c:v>210.913312693498</c:v>
                </c:pt>
                <c:pt idx="276">
                  <c:v>174.48285221302399</c:v>
                </c:pt>
                <c:pt idx="277">
                  <c:v>200.206037281085</c:v>
                </c:pt>
                <c:pt idx="278">
                  <c:v>105.03588726148099</c:v>
                </c:pt>
                <c:pt idx="279">
                  <c:v>42.818217205137998</c:v>
                </c:pt>
                <c:pt idx="280">
                  <c:v>216.42489471221299</c:v>
                </c:pt>
                <c:pt idx="281">
                  <c:v>228.747947133807</c:v>
                </c:pt>
                <c:pt idx="282">
                  <c:v>245.14610707981899</c:v>
                </c:pt>
                <c:pt idx="283">
                  <c:v>200.196270853778</c:v>
                </c:pt>
                <c:pt idx="284">
                  <c:v>295.20004723200702</c:v>
                </c:pt>
                <c:pt idx="285">
                  <c:v>159.57446808510599</c:v>
                </c:pt>
                <c:pt idx="286">
                  <c:v>80.834368407561996</c:v>
                </c:pt>
                <c:pt idx="287">
                  <c:v>306.49371193545801</c:v>
                </c:pt>
                <c:pt idx="288">
                  <c:v>368.78420176064702</c:v>
                </c:pt>
                <c:pt idx="289">
                  <c:v>244.54252654180999</c:v>
                </c:pt>
                <c:pt idx="290">
                  <c:v>297.22128024575602</c:v>
                </c:pt>
                <c:pt idx="291">
                  <c:v>536.91275167785204</c:v>
                </c:pt>
                <c:pt idx="292">
                  <c:v>268.77946043526202</c:v>
                </c:pt>
                <c:pt idx="293">
                  <c:v>140.51992371775501</c:v>
                </c:pt>
                <c:pt idx="294">
                  <c:v>338.307255482389</c:v>
                </c:pt>
                <c:pt idx="295">
                  <c:v>435.95850320913797</c:v>
                </c:pt>
                <c:pt idx="296">
                  <c:v>293.48068087517902</c:v>
                </c:pt>
                <c:pt idx="297">
                  <c:v>444.74229316437101</c:v>
                </c:pt>
                <c:pt idx="298">
                  <c:v>287.70225876879698</c:v>
                </c:pt>
                <c:pt idx="299">
                  <c:v>175.703836881461</c:v>
                </c:pt>
                <c:pt idx="300">
                  <c:v>118.611832552812</c:v>
                </c:pt>
                <c:pt idx="301">
                  <c:v>361.45568060461602</c:v>
                </c:pt>
                <c:pt idx="302">
                  <c:v>342.578834406471</c:v>
                </c:pt>
                <c:pt idx="303">
                  <c:v>316.16796164655301</c:v>
                </c:pt>
                <c:pt idx="304">
                  <c:v>234.57610230009101</c:v>
                </c:pt>
                <c:pt idx="305">
                  <c:v>265.34065979984501</c:v>
                </c:pt>
                <c:pt idx="306">
                  <c:v>154.84734980853301</c:v>
                </c:pt>
                <c:pt idx="307">
                  <c:v>90.084427963882007</c:v>
                </c:pt>
                <c:pt idx="308">
                  <c:v>294.842364635764</c:v>
                </c:pt>
                <c:pt idx="309">
                  <c:v>294.19857345439902</c:v>
                </c:pt>
                <c:pt idx="310">
                  <c:v>234.14717214074301</c:v>
                </c:pt>
                <c:pt idx="311">
                  <c:v>201.35378288064399</c:v>
                </c:pt>
                <c:pt idx="312">
                  <c:v>198.51973329305301</c:v>
                </c:pt>
                <c:pt idx="313">
                  <c:v>129.68206280934501</c:v>
                </c:pt>
                <c:pt idx="314">
                  <c:v>84.382708035830007</c:v>
                </c:pt>
                <c:pt idx="315">
                  <c:v>204.24126542673301</c:v>
                </c:pt>
                <c:pt idx="316">
                  <c:v>288.05237315875598</c:v>
                </c:pt>
                <c:pt idx="317">
                  <c:v>177.569273938968</c:v>
                </c:pt>
                <c:pt idx="318">
                  <c:v>151.98907440856399</c:v>
                </c:pt>
                <c:pt idx="319">
                  <c:v>166.193937245169</c:v>
                </c:pt>
                <c:pt idx="320">
                  <c:v>104.326208075292</c:v>
                </c:pt>
                <c:pt idx="321">
                  <c:v>66.663703835384993</c:v>
                </c:pt>
                <c:pt idx="322">
                  <c:v>176.382593940476</c:v>
                </c:pt>
                <c:pt idx="323">
                  <c:v>177.277113300271</c:v>
                </c:pt>
                <c:pt idx="324">
                  <c:v>103.496377626783</c:v>
                </c:pt>
                <c:pt idx="325">
                  <c:v>126.630938651832</c:v>
                </c:pt>
                <c:pt idx="326">
                  <c:v>36.449790413705003</c:v>
                </c:pt>
                <c:pt idx="327">
                  <c:v>43.377014748184997</c:v>
                </c:pt>
                <c:pt idx="328">
                  <c:v>34.295905068933997</c:v>
                </c:pt>
                <c:pt idx="329">
                  <c:v>96.474101297806001</c:v>
                </c:pt>
                <c:pt idx="330">
                  <c:v>186.97197728636701</c:v>
                </c:pt>
                <c:pt idx="331">
                  <c:v>169.40106281762601</c:v>
                </c:pt>
                <c:pt idx="332">
                  <c:v>102.71494268972999</c:v>
                </c:pt>
                <c:pt idx="333">
                  <c:v>141.12002257920301</c:v>
                </c:pt>
                <c:pt idx="334">
                  <c:v>16.525413725536001</c:v>
                </c:pt>
                <c:pt idx="335">
                  <c:v>49.697084437712</c:v>
                </c:pt>
                <c:pt idx="336">
                  <c:v>114.323822226456</c:v>
                </c:pt>
                <c:pt idx="337">
                  <c:v>122.249388753056</c:v>
                </c:pt>
                <c:pt idx="338">
                  <c:v>113.37868480725599</c:v>
                </c:pt>
                <c:pt idx="339">
                  <c:v>130.756937381955</c:v>
                </c:pt>
                <c:pt idx="340">
                  <c:v>92.190494674785</c:v>
                </c:pt>
                <c:pt idx="341">
                  <c:v>51.046452271566999</c:v>
                </c:pt>
                <c:pt idx="342">
                  <c:v>34.098105119586002</c:v>
                </c:pt>
                <c:pt idx="343">
                  <c:v>105.26058113632401</c:v>
                </c:pt>
                <c:pt idx="344">
                  <c:v>164.89060615755599</c:v>
                </c:pt>
                <c:pt idx="345">
                  <c:v>138.52813852813799</c:v>
                </c:pt>
                <c:pt idx="346">
                  <c:v>139.064789292011</c:v>
                </c:pt>
                <c:pt idx="347">
                  <c:v>186.743688063343</c:v>
                </c:pt>
                <c:pt idx="348">
                  <c:v>124.74427423781199</c:v>
                </c:pt>
                <c:pt idx="349">
                  <c:v>107.51343917989701</c:v>
                </c:pt>
                <c:pt idx="350">
                  <c:v>271.52051488334598</c:v>
                </c:pt>
                <c:pt idx="351">
                  <c:v>348.687368926396</c:v>
                </c:pt>
                <c:pt idx="352">
                  <c:v>403.67624657255999</c:v>
                </c:pt>
                <c:pt idx="353">
                  <c:v>421.03651534869402</c:v>
                </c:pt>
                <c:pt idx="354">
                  <c:v>372.50166983507103</c:v>
                </c:pt>
                <c:pt idx="355">
                  <c:v>239.61043980109699</c:v>
                </c:pt>
                <c:pt idx="356">
                  <c:v>216.88613477924</c:v>
                </c:pt>
                <c:pt idx="357">
                  <c:v>461.582345771853</c:v>
                </c:pt>
                <c:pt idx="358">
                  <c:v>458.22593662943501</c:v>
                </c:pt>
                <c:pt idx="359">
                  <c:v>585.68216284055802</c:v>
                </c:pt>
                <c:pt idx="360">
                  <c:v>1152.1100146966101</c:v>
                </c:pt>
                <c:pt idx="361">
                  <c:v>830.06139819230998</c:v>
                </c:pt>
                <c:pt idx="362">
                  <c:v>311.69928943128002</c:v>
                </c:pt>
                <c:pt idx="363">
                  <c:v>325.60355781448499</c:v>
                </c:pt>
                <c:pt idx="364">
                  <c:v>785.97981943706804</c:v>
                </c:pt>
                <c:pt idx="365">
                  <c:v>973.24894963569602</c:v>
                </c:pt>
                <c:pt idx="366">
                  <c:v>836.285189229499</c:v>
                </c:pt>
                <c:pt idx="367">
                  <c:v>805.54814617231204</c:v>
                </c:pt>
                <c:pt idx="368">
                  <c:v>670.62092551031299</c:v>
                </c:pt>
                <c:pt idx="369">
                  <c:v>392.932559942262</c:v>
                </c:pt>
                <c:pt idx="370">
                  <c:v>160.457839702618</c:v>
                </c:pt>
                <c:pt idx="371">
                  <c:v>720.32990574121595</c:v>
                </c:pt>
                <c:pt idx="372">
                  <c:v>809.82516357395605</c:v>
                </c:pt>
                <c:pt idx="373">
                  <c:v>628.79561455366195</c:v>
                </c:pt>
                <c:pt idx="374">
                  <c:v>543.77086249596198</c:v>
                </c:pt>
                <c:pt idx="375">
                  <c:v>493.99379133486298</c:v>
                </c:pt>
                <c:pt idx="376">
                  <c:v>186.38070284433101</c:v>
                </c:pt>
                <c:pt idx="377">
                  <c:v>100.00270277575</c:v>
                </c:pt>
                <c:pt idx="378">
                  <c:v>479.20727745289099</c:v>
                </c:pt>
                <c:pt idx="379">
                  <c:v>645.38872467933902</c:v>
                </c:pt>
                <c:pt idx="380">
                  <c:v>456.55895861075601</c:v>
                </c:pt>
                <c:pt idx="381">
                  <c:v>337.47006313956001</c:v>
                </c:pt>
                <c:pt idx="382">
                  <c:v>300.08729812309002</c:v>
                </c:pt>
                <c:pt idx="383">
                  <c:v>147.420147420147</c:v>
                </c:pt>
                <c:pt idx="384">
                  <c:v>87.410199677674001</c:v>
                </c:pt>
                <c:pt idx="385">
                  <c:v>352.979806271548</c:v>
                </c:pt>
                <c:pt idx="386">
                  <c:v>359.06150641377002</c:v>
                </c:pt>
                <c:pt idx="387">
                  <c:v>214.07399275441799</c:v>
                </c:pt>
                <c:pt idx="388">
                  <c:v>225.35520927803799</c:v>
                </c:pt>
                <c:pt idx="389">
                  <c:v>214.82277121374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0B-4754-90A8-6FC4E50C7F8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91</c:f>
              <c:numCache>
                <c:formatCode>m/d/yyyy</c:formatCode>
                <c:ptCount val="390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  <c:pt idx="384">
                  <c:v>44612</c:v>
                </c:pt>
                <c:pt idx="385">
                  <c:v>44613</c:v>
                </c:pt>
                <c:pt idx="386">
                  <c:v>44614</c:v>
                </c:pt>
                <c:pt idx="387">
                  <c:v>44615</c:v>
                </c:pt>
                <c:pt idx="388">
                  <c:v>44616</c:v>
                </c:pt>
                <c:pt idx="389">
                  <c:v>44617</c:v>
                </c:pt>
              </c:numCache>
            </c:numRef>
          </c:cat>
          <c:val>
            <c:numRef>
              <c:f>List1!$C$2:$C$391</c:f>
              <c:numCache>
                <c:formatCode>General</c:formatCode>
                <c:ptCount val="39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81750106275099998</c:v>
                </c:pt>
                <c:pt idx="9">
                  <c:v>0.81753113771700003</c:v>
                </c:pt>
                <c:pt idx="10">
                  <c:v>1.2263368093160001</c:v>
                </c:pt>
                <c:pt idx="11">
                  <c:v>2.4527638560709999</c:v>
                </c:pt>
                <c:pt idx="12">
                  <c:v>0.40880734545000003</c:v>
                </c:pt>
                <c:pt idx="13">
                  <c:v>0</c:v>
                </c:pt>
                <c:pt idx="14">
                  <c:v>1.2265072752320001</c:v>
                </c:pt>
                <c:pt idx="15">
                  <c:v>2.4530947834929999</c:v>
                </c:pt>
                <c:pt idx="16">
                  <c:v>0.81772835064100002</c:v>
                </c:pt>
                <c:pt idx="17">
                  <c:v>4.0887754935149996</c:v>
                </c:pt>
                <c:pt idx="18">
                  <c:v>2.8622364697989999</c:v>
                </c:pt>
                <c:pt idx="19">
                  <c:v>1.6356238882859999</c:v>
                </c:pt>
                <c:pt idx="20">
                  <c:v>0.40891934883600001</c:v>
                </c:pt>
                <c:pt idx="21">
                  <c:v>3.6804095886930002</c:v>
                </c:pt>
                <c:pt idx="22">
                  <c:v>5.7252688831630003</c:v>
                </c:pt>
                <c:pt idx="23">
                  <c:v>5.7254796111579997</c:v>
                </c:pt>
                <c:pt idx="24">
                  <c:v>4.9077145182460002</c:v>
                </c:pt>
                <c:pt idx="25">
                  <c:v>8.5887814155120008</c:v>
                </c:pt>
                <c:pt idx="26">
                  <c:v>3.6810418166350001</c:v>
                </c:pt>
                <c:pt idx="27">
                  <c:v>4.4991983246620002</c:v>
                </c:pt>
                <c:pt idx="28">
                  <c:v>8.1798252789320003</c:v>
                </c:pt>
                <c:pt idx="29">
                  <c:v>5.3165602672999999</c:v>
                </c:pt>
                <c:pt idx="30">
                  <c:v>7.7698488968849997</c:v>
                </c:pt>
                <c:pt idx="31">
                  <c:v>4.4978921241899998</c:v>
                </c:pt>
                <c:pt idx="32">
                  <c:v>6.5417198181399998</c:v>
                </c:pt>
                <c:pt idx="33">
                  <c:v>3.6793563579269999</c:v>
                </c:pt>
                <c:pt idx="34">
                  <c:v>1.6351090617740001</c:v>
                </c:pt>
                <c:pt idx="35">
                  <c:v>5.7223203191409997</c:v>
                </c:pt>
                <c:pt idx="36">
                  <c:v>6.9478218578469999</c:v>
                </c:pt>
                <c:pt idx="37">
                  <c:v>2.4519319180229999</c:v>
                </c:pt>
                <c:pt idx="38">
                  <c:v>6.129228657004</c:v>
                </c:pt>
                <c:pt idx="39">
                  <c:v>6.5372028126309996</c:v>
                </c:pt>
                <c:pt idx="40">
                  <c:v>2.8597458094510002</c:v>
                </c:pt>
                <c:pt idx="41">
                  <c:v>3.267947157294</c:v>
                </c:pt>
                <c:pt idx="42">
                  <c:v>8.5775203613989994</c:v>
                </c:pt>
                <c:pt idx="43">
                  <c:v>4.4925464570139999</c:v>
                </c:pt>
                <c:pt idx="44">
                  <c:v>3.2669862868249999</c:v>
                </c:pt>
                <c:pt idx="45">
                  <c:v>5.3083107730119998</c:v>
                </c:pt>
                <c:pt idx="46">
                  <c:v>6.1243737827800002</c:v>
                </c:pt>
                <c:pt idx="47">
                  <c:v>1.224754742862</c:v>
                </c:pt>
                <c:pt idx="48">
                  <c:v>1.632846336913</c:v>
                </c:pt>
                <c:pt idx="49">
                  <c:v>5.714402334741</c:v>
                </c:pt>
                <c:pt idx="50">
                  <c:v>5.7138192800579999</c:v>
                </c:pt>
                <c:pt idx="51">
                  <c:v>6.5294396108450004</c:v>
                </c:pt>
                <c:pt idx="52">
                  <c:v>4.080500106093</c:v>
                </c:pt>
                <c:pt idx="53">
                  <c:v>3.2640804269410002</c:v>
                </c:pt>
                <c:pt idx="54">
                  <c:v>3.2637475164919998</c:v>
                </c:pt>
                <c:pt idx="55">
                  <c:v>1.6317139931710001</c:v>
                </c:pt>
                <c:pt idx="56">
                  <c:v>4.07888564844</c:v>
                </c:pt>
                <c:pt idx="57">
                  <c:v>2.447091835278</c:v>
                </c:pt>
                <c:pt idx="58">
                  <c:v>4.893684699894</c:v>
                </c:pt>
                <c:pt idx="59">
                  <c:v>2.0386611704359998</c:v>
                </c:pt>
                <c:pt idx="60">
                  <c:v>1.222967326389</c:v>
                </c:pt>
                <c:pt idx="61">
                  <c:v>3.6682141095810001</c:v>
                </c:pt>
                <c:pt idx="62">
                  <c:v>0.40750460480200001</c:v>
                </c:pt>
                <c:pt idx="63">
                  <c:v>1.222284694551</c:v>
                </c:pt>
                <c:pt idx="64">
                  <c:v>3.666166981685</c:v>
                </c:pt>
                <c:pt idx="65">
                  <c:v>2.8509406067610001</c:v>
                </c:pt>
                <c:pt idx="66">
                  <c:v>4.0720094144849996</c:v>
                </c:pt>
                <c:pt idx="67">
                  <c:v>2.0356234096689998</c:v>
                </c:pt>
                <c:pt idx="68">
                  <c:v>2.035242254885</c:v>
                </c:pt>
                <c:pt idx="69">
                  <c:v>0.813947809666</c:v>
                </c:pt>
                <c:pt idx="70">
                  <c:v>3.6620795729200002</c:v>
                </c:pt>
                <c:pt idx="71">
                  <c:v>2.0341079216289999</c:v>
                </c:pt>
                <c:pt idx="72">
                  <c:v>2.0337356062360001</c:v>
                </c:pt>
                <c:pt idx="73">
                  <c:v>2.4400261896140001</c:v>
                </c:pt>
                <c:pt idx="74">
                  <c:v>2.0329748521009998</c:v>
                </c:pt>
                <c:pt idx="75">
                  <c:v>2.439113626108</c:v>
                </c:pt>
                <c:pt idx="76">
                  <c:v>1.62577834138</c:v>
                </c:pt>
                <c:pt idx="77">
                  <c:v>2.8445802618629998</c:v>
                </c:pt>
                <c:pt idx="78">
                  <c:v>2.8440486251050001</c:v>
                </c:pt>
                <c:pt idx="79">
                  <c:v>4.8746206935769996</c:v>
                </c:pt>
                <c:pt idx="80">
                  <c:v>1.6245699966289999</c:v>
                </c:pt>
                <c:pt idx="81">
                  <c:v>2.0303331776740001</c:v>
                </c:pt>
                <c:pt idx="82">
                  <c:v>0.40599080024799999</c:v>
                </c:pt>
                <c:pt idx="83">
                  <c:v>0.40591664095800001</c:v>
                </c:pt>
                <c:pt idx="84">
                  <c:v>2.8408860317690001</c:v>
                </c:pt>
                <c:pt idx="85">
                  <c:v>2.8403557748489998</c:v>
                </c:pt>
                <c:pt idx="86">
                  <c:v>1.217073101467</c:v>
                </c:pt>
                <c:pt idx="87">
                  <c:v>4.0561533874959999</c:v>
                </c:pt>
                <c:pt idx="88">
                  <c:v>2.4332380315100002</c:v>
                </c:pt>
                <c:pt idx="89">
                  <c:v>0.810974101542</c:v>
                </c:pt>
                <c:pt idx="90">
                  <c:v>1.6220337058600001</c:v>
                </c:pt>
                <c:pt idx="91">
                  <c:v>2.8387201427469999</c:v>
                </c:pt>
                <c:pt idx="92">
                  <c:v>4.4610811227319997</c:v>
                </c:pt>
                <c:pt idx="93">
                  <c:v>3.2446068550430001</c:v>
                </c:pt>
                <c:pt idx="94">
                  <c:v>1.2167917258159999</c:v>
                </c:pt>
                <c:pt idx="95">
                  <c:v>1.622481098095</c:v>
                </c:pt>
                <c:pt idx="96">
                  <c:v>0</c:v>
                </c:pt>
                <c:pt idx="97">
                  <c:v>0</c:v>
                </c:pt>
                <c:pt idx="98">
                  <c:v>2.0284304816300001</c:v>
                </c:pt>
                <c:pt idx="99">
                  <c:v>1.2171224790349999</c:v>
                </c:pt>
                <c:pt idx="100">
                  <c:v>2.434383228722</c:v>
                </c:pt>
                <c:pt idx="101">
                  <c:v>2.4345116369649999</c:v>
                </c:pt>
                <c:pt idx="102">
                  <c:v>0.81154997930499995</c:v>
                </c:pt>
                <c:pt idx="103">
                  <c:v>0.81159279143200003</c:v>
                </c:pt>
                <c:pt idx="104">
                  <c:v>0.40581945092600002</c:v>
                </c:pt>
                <c:pt idx="105">
                  <c:v>3.24672689345</c:v>
                </c:pt>
                <c:pt idx="106">
                  <c:v>1.2175917658319999</c:v>
                </c:pt>
                <c:pt idx="107">
                  <c:v>1.2176560121760001</c:v>
                </c:pt>
                <c:pt idx="108">
                  <c:v>1.6236336108389999</c:v>
                </c:pt>
                <c:pt idx="109">
                  <c:v>0.40592982285200002</c:v>
                </c:pt>
                <c:pt idx="110">
                  <c:v>0.40595124525499998</c:v>
                </c:pt>
                <c:pt idx="111">
                  <c:v>0</c:v>
                </c:pt>
                <c:pt idx="112">
                  <c:v>1.2179872354929999</c:v>
                </c:pt>
                <c:pt idx="113">
                  <c:v>0.81203764606499995</c:v>
                </c:pt>
                <c:pt idx="114">
                  <c:v>0.81208050966099998</c:v>
                </c:pt>
                <c:pt idx="115">
                  <c:v>1.2181900132779999</c:v>
                </c:pt>
                <c:pt idx="116">
                  <c:v>1.6243390970289999</c:v>
                </c:pt>
                <c:pt idx="117">
                  <c:v>0.406107862248</c:v>
                </c:pt>
                <c:pt idx="118">
                  <c:v>0</c:v>
                </c:pt>
                <c:pt idx="119">
                  <c:v>0.81230149382200001</c:v>
                </c:pt>
                <c:pt idx="120">
                  <c:v>0</c:v>
                </c:pt>
                <c:pt idx="121">
                  <c:v>0</c:v>
                </c:pt>
                <c:pt idx="122">
                  <c:v>1.218526476549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40620849056899999</c:v>
                </c:pt>
                <c:pt idx="127">
                  <c:v>0.40621509089000002</c:v>
                </c:pt>
                <c:pt idx="128">
                  <c:v>0</c:v>
                </c:pt>
                <c:pt idx="129">
                  <c:v>0</c:v>
                </c:pt>
                <c:pt idx="131">
                  <c:v>0.40624809571199999</c:v>
                </c:pt>
                <c:pt idx="132">
                  <c:v>0.40625634775500002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406304216218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406376865777</c:v>
                </c:pt>
                <c:pt idx="148">
                  <c:v>0</c:v>
                </c:pt>
                <c:pt idx="150">
                  <c:v>0.40637521436200003</c:v>
                </c:pt>
                <c:pt idx="151">
                  <c:v>0.81269758709999995</c:v>
                </c:pt>
                <c:pt idx="153">
                  <c:v>0.40629761300099998</c:v>
                </c:pt>
                <c:pt idx="154">
                  <c:v>0.81254240455600002</c:v>
                </c:pt>
                <c:pt idx="155">
                  <c:v>0</c:v>
                </c:pt>
                <c:pt idx="156">
                  <c:v>0.40622004127099998</c:v>
                </c:pt>
                <c:pt idx="157">
                  <c:v>1.624774562529</c:v>
                </c:pt>
                <c:pt idx="158">
                  <c:v>0.40616724342400001</c:v>
                </c:pt>
                <c:pt idx="159">
                  <c:v>0</c:v>
                </c:pt>
                <c:pt idx="160">
                  <c:v>0.40611610859500002</c:v>
                </c:pt>
                <c:pt idx="161">
                  <c:v>1.6243588858519999</c:v>
                </c:pt>
                <c:pt idx="162">
                  <c:v>0.40606498664000001</c:v>
                </c:pt>
                <c:pt idx="163">
                  <c:v>1.6241544246020001</c:v>
                </c:pt>
                <c:pt idx="164">
                  <c:v>0.406012229088</c:v>
                </c:pt>
                <c:pt idx="165">
                  <c:v>2.029937518523</c:v>
                </c:pt>
                <c:pt idx="166">
                  <c:v>0</c:v>
                </c:pt>
                <c:pt idx="167">
                  <c:v>0.40593476628300001</c:v>
                </c:pt>
                <c:pt idx="168">
                  <c:v>2.0295502516639998</c:v>
                </c:pt>
                <c:pt idx="169">
                  <c:v>2.029418449849</c:v>
                </c:pt>
                <c:pt idx="170">
                  <c:v>0.81171466605999998</c:v>
                </c:pt>
                <c:pt idx="171">
                  <c:v>2.0291631325399999</c:v>
                </c:pt>
                <c:pt idx="172">
                  <c:v>1.217418828599</c:v>
                </c:pt>
                <c:pt idx="173">
                  <c:v>0.405779929313</c:v>
                </c:pt>
                <c:pt idx="174">
                  <c:v>0</c:v>
                </c:pt>
                <c:pt idx="175">
                  <c:v>2.0286444597709998</c:v>
                </c:pt>
                <c:pt idx="176">
                  <c:v>1.2171076653440001</c:v>
                </c:pt>
                <c:pt idx="177">
                  <c:v>0.81135573486500001</c:v>
                </c:pt>
                <c:pt idx="178">
                  <c:v>0.405651537216</c:v>
                </c:pt>
                <c:pt idx="179">
                  <c:v>0.81125042083599996</c:v>
                </c:pt>
                <c:pt idx="180">
                  <c:v>0.405598887036</c:v>
                </c:pt>
                <c:pt idx="181">
                  <c:v>0.40561698399399998</c:v>
                </c:pt>
                <c:pt idx="182">
                  <c:v>0.81127016513399997</c:v>
                </c:pt>
                <c:pt idx="183">
                  <c:v>1.622606148866</c:v>
                </c:pt>
                <c:pt idx="184">
                  <c:v>1.6226785554909999</c:v>
                </c:pt>
                <c:pt idx="185">
                  <c:v>1.2170582889779999</c:v>
                </c:pt>
                <c:pt idx="186">
                  <c:v>0.81140840213400001</c:v>
                </c:pt>
                <c:pt idx="187">
                  <c:v>0</c:v>
                </c:pt>
                <c:pt idx="188">
                  <c:v>0.811477538301</c:v>
                </c:pt>
                <c:pt idx="189">
                  <c:v>1.217265696641</c:v>
                </c:pt>
                <c:pt idx="190">
                  <c:v>0.81154668625100002</c:v>
                </c:pt>
                <c:pt idx="191">
                  <c:v>1.6231658226200001</c:v>
                </c:pt>
                <c:pt idx="192">
                  <c:v>0.81161584598699998</c:v>
                </c:pt>
                <c:pt idx="193">
                  <c:v>1.2174781158300001</c:v>
                </c:pt>
                <c:pt idx="194">
                  <c:v>0.40584250875599998</c:v>
                </c:pt>
                <c:pt idx="195">
                  <c:v>0.40586062746000001</c:v>
                </c:pt>
                <c:pt idx="196">
                  <c:v>1.2176313012410001</c:v>
                </c:pt>
                <c:pt idx="197">
                  <c:v>0.40589522220699997</c:v>
                </c:pt>
                <c:pt idx="198">
                  <c:v>0</c:v>
                </c:pt>
                <c:pt idx="199">
                  <c:v>1.217789468556</c:v>
                </c:pt>
                <c:pt idx="200">
                  <c:v>0.40594630142299998</c:v>
                </c:pt>
                <c:pt idx="201">
                  <c:v>0.40596442939600003</c:v>
                </c:pt>
                <c:pt idx="202">
                  <c:v>0.81196511797799997</c:v>
                </c:pt>
                <c:pt idx="203">
                  <c:v>1.624002760804</c:v>
                </c:pt>
                <c:pt idx="204">
                  <c:v>1.2180564690969999</c:v>
                </c:pt>
                <c:pt idx="205">
                  <c:v>1.6241412353210001</c:v>
                </c:pt>
                <c:pt idx="206">
                  <c:v>0.40605344475400001</c:v>
                </c:pt>
                <c:pt idx="207">
                  <c:v>1.218209800091</c:v>
                </c:pt>
                <c:pt idx="208">
                  <c:v>0.40608807238099998</c:v>
                </c:pt>
                <c:pt idx="209">
                  <c:v>0</c:v>
                </c:pt>
                <c:pt idx="210">
                  <c:v>0.40612270591400002</c:v>
                </c:pt>
                <c:pt idx="211">
                  <c:v>2.4368352008960001</c:v>
                </c:pt>
                <c:pt idx="212">
                  <c:v>2.0305145730029999</c:v>
                </c:pt>
                <c:pt idx="213">
                  <c:v>1.6242665421389999</c:v>
                </c:pt>
                <c:pt idx="214">
                  <c:v>3.2482429036039999</c:v>
                </c:pt>
                <c:pt idx="215">
                  <c:v>1.623976387383</c:v>
                </c:pt>
                <c:pt idx="216">
                  <c:v>0.81191567443799995</c:v>
                </c:pt>
                <c:pt idx="217">
                  <c:v>1.2177647522049999</c:v>
                </c:pt>
                <c:pt idx="218">
                  <c:v>2.8411858297879999</c:v>
                </c:pt>
                <c:pt idx="219">
                  <c:v>0.40584745006</c:v>
                </c:pt>
                <c:pt idx="220">
                  <c:v>1.6232514538239999</c:v>
                </c:pt>
                <c:pt idx="221">
                  <c:v>1.623106544771</c:v>
                </c:pt>
                <c:pt idx="222">
                  <c:v>1.2172212461909999</c:v>
                </c:pt>
                <c:pt idx="223">
                  <c:v>1.217112603201</c:v>
                </c:pt>
                <c:pt idx="224">
                  <c:v>2.839664432797</c:v>
                </c:pt>
                <c:pt idx="225">
                  <c:v>2.4337808785939998</c:v>
                </c:pt>
                <c:pt idx="226">
                  <c:v>2.0279779842710002</c:v>
                </c:pt>
                <c:pt idx="227">
                  <c:v>4.0555940836989999</c:v>
                </c:pt>
                <c:pt idx="228">
                  <c:v>1.216579546053</c:v>
                </c:pt>
                <c:pt idx="229">
                  <c:v>1.216471017578</c:v>
                </c:pt>
                <c:pt idx="230">
                  <c:v>1.621810102255</c:v>
                </c:pt>
                <c:pt idx="231">
                  <c:v>3.2466214845170001</c:v>
                </c:pt>
                <c:pt idx="232">
                  <c:v>4.062629496315</c:v>
                </c:pt>
                <c:pt idx="233">
                  <c:v>3.2532756419109998</c:v>
                </c:pt>
                <c:pt idx="234">
                  <c:v>3.2579789941800001</c:v>
                </c:pt>
                <c:pt idx="235">
                  <c:v>2.8537881999930002</c:v>
                </c:pt>
                <c:pt idx="236">
                  <c:v>1.6308956879109999</c:v>
                </c:pt>
                <c:pt idx="237">
                  <c:v>1.631081896622</c:v>
                </c:pt>
                <c:pt idx="238">
                  <c:v>5.3111517845460003</c:v>
                </c:pt>
                <c:pt idx="239">
                  <c:v>4.0857016784060001</c:v>
                </c:pt>
                <c:pt idx="240">
                  <c:v>4.0979911647309999</c:v>
                </c:pt>
                <c:pt idx="241">
                  <c:v>7.3985778289280004</c:v>
                </c:pt>
                <c:pt idx="242">
                  <c:v>1.6536852375510001</c:v>
                </c:pt>
                <c:pt idx="243">
                  <c:v>2.8946791661660001</c:v>
                </c:pt>
                <c:pt idx="244">
                  <c:v>4.1360085036329997</c:v>
                </c:pt>
                <c:pt idx="245">
                  <c:v>4.1531688678460004</c:v>
                </c:pt>
                <c:pt idx="246">
                  <c:v>5.0069680305090003</c:v>
                </c:pt>
                <c:pt idx="247">
                  <c:v>5.4565220128679996</c:v>
                </c:pt>
                <c:pt idx="248">
                  <c:v>8.4390322117849994</c:v>
                </c:pt>
                <c:pt idx="249">
                  <c:v>6.8224458468359996</c:v>
                </c:pt>
                <c:pt idx="250">
                  <c:v>2.5610162112319999</c:v>
                </c:pt>
                <c:pt idx="251">
                  <c:v>2.1350823928290001</c:v>
                </c:pt>
                <c:pt idx="252">
                  <c:v>9.4427085121720005</c:v>
                </c:pt>
                <c:pt idx="253">
                  <c:v>14.24667469661</c:v>
                </c:pt>
                <c:pt idx="254">
                  <c:v>13.900593381579</c:v>
                </c:pt>
                <c:pt idx="255">
                  <c:v>10.062606915198</c:v>
                </c:pt>
                <c:pt idx="256">
                  <c:v>11.04450050142</c:v>
                </c:pt>
                <c:pt idx="257">
                  <c:v>6.1940324921240002</c:v>
                </c:pt>
                <c:pt idx="258">
                  <c:v>7.084065722419</c:v>
                </c:pt>
                <c:pt idx="259">
                  <c:v>17.81967381087</c:v>
                </c:pt>
                <c:pt idx="260">
                  <c:v>25.113909518170999</c:v>
                </c:pt>
                <c:pt idx="261">
                  <c:v>20.350756595905999</c:v>
                </c:pt>
                <c:pt idx="262">
                  <c:v>29.239098156566001</c:v>
                </c:pt>
                <c:pt idx="263">
                  <c:v>25.47947743908</c:v>
                </c:pt>
                <c:pt idx="264">
                  <c:v>20.427112349116999</c:v>
                </c:pt>
                <c:pt idx="265">
                  <c:v>12.086108877246</c:v>
                </c:pt>
                <c:pt idx="266">
                  <c:v>50.182909670762001</c:v>
                </c:pt>
                <c:pt idx="267">
                  <c:v>45.454975899391997</c:v>
                </c:pt>
                <c:pt idx="268">
                  <c:v>38.439177209411</c:v>
                </c:pt>
                <c:pt idx="269">
                  <c:v>24.067736236864999</c:v>
                </c:pt>
                <c:pt idx="270">
                  <c:v>50.573326460547001</c:v>
                </c:pt>
                <c:pt idx="271">
                  <c:v>33.122582782102</c:v>
                </c:pt>
                <c:pt idx="272">
                  <c:v>28.295995628756</c:v>
                </c:pt>
                <c:pt idx="273">
                  <c:v>85.585275397676</c:v>
                </c:pt>
                <c:pt idx="274">
                  <c:v>70.020012812171998</c:v>
                </c:pt>
                <c:pt idx="275">
                  <c:v>66.803622464099007</c:v>
                </c:pt>
                <c:pt idx="276">
                  <c:v>71.363397713311997</c:v>
                </c:pt>
                <c:pt idx="277">
                  <c:v>85.745020292988002</c:v>
                </c:pt>
                <c:pt idx="278">
                  <c:v>47.944884228737997</c:v>
                </c:pt>
                <c:pt idx="279">
                  <c:v>29.230608623028999</c:v>
                </c:pt>
                <c:pt idx="280">
                  <c:v>94.793219125058002</c:v>
                </c:pt>
                <c:pt idx="281">
                  <c:v>102.102134040957</c:v>
                </c:pt>
                <c:pt idx="282">
                  <c:v>107.588774187301</c:v>
                </c:pt>
                <c:pt idx="283">
                  <c:v>75.076708811176005</c:v>
                </c:pt>
                <c:pt idx="284">
                  <c:v>103.10192678654499</c:v>
                </c:pt>
                <c:pt idx="285">
                  <c:v>78.882753563611004</c:v>
                </c:pt>
                <c:pt idx="286">
                  <c:v>43.390464111078998</c:v>
                </c:pt>
                <c:pt idx="287">
                  <c:v>107.16129177046101</c:v>
                </c:pt>
                <c:pt idx="288">
                  <c:v>139.89593107566299</c:v>
                </c:pt>
                <c:pt idx="289">
                  <c:v>91.177442700675002</c:v>
                </c:pt>
                <c:pt idx="290">
                  <c:v>120.375756668183</c:v>
                </c:pt>
                <c:pt idx="291">
                  <c:v>141.69447859944901</c:v>
                </c:pt>
                <c:pt idx="292">
                  <c:v>93.964540131666993</c:v>
                </c:pt>
                <c:pt idx="293">
                  <c:v>65.862594162926996</c:v>
                </c:pt>
                <c:pt idx="294">
                  <c:v>141.21528210422599</c:v>
                </c:pt>
                <c:pt idx="295">
                  <c:v>163.167366526694</c:v>
                </c:pt>
                <c:pt idx="296">
                  <c:v>113.384184422104</c:v>
                </c:pt>
                <c:pt idx="297">
                  <c:v>160.13940104182601</c:v>
                </c:pt>
                <c:pt idx="298">
                  <c:v>129.69681021033401</c:v>
                </c:pt>
                <c:pt idx="299">
                  <c:v>88.014333762926995</c:v>
                </c:pt>
                <c:pt idx="300">
                  <c:v>71.870330792654002</c:v>
                </c:pt>
                <c:pt idx="301">
                  <c:v>149.053130434228</c:v>
                </c:pt>
                <c:pt idx="302">
                  <c:v>119.16494360599501</c:v>
                </c:pt>
                <c:pt idx="303">
                  <c:v>122.44047308914701</c:v>
                </c:pt>
                <c:pt idx="304">
                  <c:v>98.358274967488001</c:v>
                </c:pt>
                <c:pt idx="305">
                  <c:v>121.07274510467001</c:v>
                </c:pt>
                <c:pt idx="306">
                  <c:v>71.289871406651002</c:v>
                </c:pt>
                <c:pt idx="307">
                  <c:v>51.726367515840998</c:v>
                </c:pt>
                <c:pt idx="308">
                  <c:v>139.628299836297</c:v>
                </c:pt>
                <c:pt idx="309">
                  <c:v>120.413163316443</c:v>
                </c:pt>
                <c:pt idx="310">
                  <c:v>98.743837326581001</c:v>
                </c:pt>
                <c:pt idx="311">
                  <c:v>90.799247867646997</c:v>
                </c:pt>
                <c:pt idx="312">
                  <c:v>85.503189926700998</c:v>
                </c:pt>
                <c:pt idx="313">
                  <c:v>65.347959528318995</c:v>
                </c:pt>
                <c:pt idx="314">
                  <c:v>55.965478136644002</c:v>
                </c:pt>
                <c:pt idx="315">
                  <c:v>79.568101371248005</c:v>
                </c:pt>
                <c:pt idx="316">
                  <c:v>103.695465953322</c:v>
                </c:pt>
                <c:pt idx="317">
                  <c:v>59.281327901744</c:v>
                </c:pt>
                <c:pt idx="318">
                  <c:v>56.230406014342002</c:v>
                </c:pt>
                <c:pt idx="319">
                  <c:v>61.969046853305002</c:v>
                </c:pt>
                <c:pt idx="320">
                  <c:v>45.662100456620998</c:v>
                </c:pt>
                <c:pt idx="321">
                  <c:v>31.576620670055</c:v>
                </c:pt>
                <c:pt idx="322">
                  <c:v>79.744816586921004</c:v>
                </c:pt>
                <c:pt idx="323">
                  <c:v>74.912400821619002</c:v>
                </c:pt>
                <c:pt idx="324">
                  <c:v>39.820563664140998</c:v>
                </c:pt>
                <c:pt idx="325">
                  <c:v>61.990717705690003</c:v>
                </c:pt>
                <c:pt idx="326">
                  <c:v>20.395509724579</c:v>
                </c:pt>
                <c:pt idx="327">
                  <c:v>13.870983534325999</c:v>
                </c:pt>
                <c:pt idx="328">
                  <c:v>18.772138881179998</c:v>
                </c:pt>
                <c:pt idx="329">
                  <c:v>69.912239576906998</c:v>
                </c:pt>
                <c:pt idx="330">
                  <c:v>77.142572746274993</c:v>
                </c:pt>
                <c:pt idx="331">
                  <c:v>33.487375259526999</c:v>
                </c:pt>
                <c:pt idx="332">
                  <c:v>61.591421074389999</c:v>
                </c:pt>
                <c:pt idx="333">
                  <c:v>46.490004648999999</c:v>
                </c:pt>
                <c:pt idx="334">
                  <c:v>14.380212827149</c:v>
                </c:pt>
                <c:pt idx="335">
                  <c:v>29.667553867801001</c:v>
                </c:pt>
                <c:pt idx="336">
                  <c:v>91.533572290134998</c:v>
                </c:pt>
                <c:pt idx="337">
                  <c:v>76.138398844080001</c:v>
                </c:pt>
                <c:pt idx="338">
                  <c:v>54.282162181091998</c:v>
                </c:pt>
                <c:pt idx="339">
                  <c:v>48.828991992044998</c:v>
                </c:pt>
                <c:pt idx="340">
                  <c:v>54.523645087418998</c:v>
                </c:pt>
                <c:pt idx="341">
                  <c:v>33.771757683074</c:v>
                </c:pt>
                <c:pt idx="342">
                  <c:v>21.049356164258</c:v>
                </c:pt>
                <c:pt idx="343">
                  <c:v>54.514039675132999</c:v>
                </c:pt>
                <c:pt idx="344">
                  <c:v>92.430933552428002</c:v>
                </c:pt>
                <c:pt idx="345">
                  <c:v>113.37868480725599</c:v>
                </c:pt>
                <c:pt idx="346">
                  <c:v>85.045389393215004</c:v>
                </c:pt>
                <c:pt idx="347">
                  <c:v>84.480783049463994</c:v>
                </c:pt>
                <c:pt idx="348">
                  <c:v>81.878527356199996</c:v>
                </c:pt>
                <c:pt idx="349">
                  <c:v>57.641955527764999</c:v>
                </c:pt>
                <c:pt idx="350">
                  <c:v>192.860235368205</c:v>
                </c:pt>
                <c:pt idx="351">
                  <c:v>217.09391542258899</c:v>
                </c:pt>
                <c:pt idx="352">
                  <c:v>246.797625946723</c:v>
                </c:pt>
                <c:pt idx="353">
                  <c:v>245.75963901534899</c:v>
                </c:pt>
                <c:pt idx="354">
                  <c:v>200.49462124835799</c:v>
                </c:pt>
                <c:pt idx="355">
                  <c:v>138.69201195198801</c:v>
                </c:pt>
                <c:pt idx="356">
                  <c:v>156.281920326864</c:v>
                </c:pt>
                <c:pt idx="357">
                  <c:v>294.19328292958897</c:v>
                </c:pt>
                <c:pt idx="358">
                  <c:v>276.30026698677398</c:v>
                </c:pt>
                <c:pt idx="359">
                  <c:v>329.33133233283297</c:v>
                </c:pt>
                <c:pt idx="360">
                  <c:v>593.98251634501298</c:v>
                </c:pt>
                <c:pt idx="361">
                  <c:v>430.77837195484199</c:v>
                </c:pt>
                <c:pt idx="362">
                  <c:v>157.38653281721801</c:v>
                </c:pt>
                <c:pt idx="363">
                  <c:v>218.32433411078</c:v>
                </c:pt>
                <c:pt idx="364">
                  <c:v>407.02656383890297</c:v>
                </c:pt>
                <c:pt idx="365">
                  <c:v>500.03226014581497</c:v>
                </c:pt>
                <c:pt idx="366">
                  <c:v>369.16301461540098</c:v>
                </c:pt>
                <c:pt idx="367">
                  <c:v>366.16941293726302</c:v>
                </c:pt>
                <c:pt idx="368">
                  <c:v>294.16891832999198</c:v>
                </c:pt>
                <c:pt idx="369">
                  <c:v>209.35786018820301</c:v>
                </c:pt>
                <c:pt idx="370">
                  <c:v>124.367254320125</c:v>
                </c:pt>
                <c:pt idx="371">
                  <c:v>391.470749043193</c:v>
                </c:pt>
                <c:pt idx="372">
                  <c:v>330.16694820437402</c:v>
                </c:pt>
                <c:pt idx="373">
                  <c:v>276.124575087182</c:v>
                </c:pt>
                <c:pt idx="374">
                  <c:v>236.11708759502599</c:v>
                </c:pt>
                <c:pt idx="375">
                  <c:v>238.41999622963701</c:v>
                </c:pt>
                <c:pt idx="376">
                  <c:v>129.81825444377799</c:v>
                </c:pt>
                <c:pt idx="377">
                  <c:v>114.347884009059</c:v>
                </c:pt>
                <c:pt idx="378">
                  <c:v>257.05510549274402</c:v>
                </c:pt>
                <c:pt idx="379">
                  <c:v>219.625855648955</c:v>
                </c:pt>
                <c:pt idx="380">
                  <c:v>161.98221546985999</c:v>
                </c:pt>
                <c:pt idx="381">
                  <c:v>190.38020045915201</c:v>
                </c:pt>
                <c:pt idx="382">
                  <c:v>141.63828280443701</c:v>
                </c:pt>
                <c:pt idx="383">
                  <c:v>82.105499943762993</c:v>
                </c:pt>
                <c:pt idx="384">
                  <c:v>48.378749353073999</c:v>
                </c:pt>
                <c:pt idx="385">
                  <c:v>183.674389254484</c:v>
                </c:pt>
                <c:pt idx="386">
                  <c:v>132.039273219726</c:v>
                </c:pt>
                <c:pt idx="387">
                  <c:v>100.61044539904999</c:v>
                </c:pt>
                <c:pt idx="388">
                  <c:v>113.257979024622</c:v>
                </c:pt>
                <c:pt idx="389">
                  <c:v>93.142655928756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A0B-4754-90A8-6FC4E50C7F8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91</c:f>
              <c:numCache>
                <c:formatCode>m/d/yyyy</c:formatCode>
                <c:ptCount val="390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  <c:pt idx="384">
                  <c:v>44612</c:v>
                </c:pt>
                <c:pt idx="385">
                  <c:v>44613</c:v>
                </c:pt>
                <c:pt idx="386">
                  <c:v>44614</c:v>
                </c:pt>
                <c:pt idx="387">
                  <c:v>44615</c:v>
                </c:pt>
                <c:pt idx="388">
                  <c:v>44616</c:v>
                </c:pt>
                <c:pt idx="389">
                  <c:v>44617</c:v>
                </c:pt>
              </c:numCache>
            </c:numRef>
          </c:cat>
          <c:val>
            <c:numRef>
              <c:f>List1!$D$2:$D$391</c:f>
              <c:numCache>
                <c:formatCode>General</c:formatCode>
                <c:ptCount val="39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13.854253255749001</c:v>
                </c:pt>
                <c:pt idx="247">
                  <c:v>11.584800741426999</c:v>
                </c:pt>
                <c:pt idx="248">
                  <c:v>0</c:v>
                </c:pt>
                <c:pt idx="249">
                  <c:v>0</c:v>
                </c:pt>
                <c:pt idx="250">
                  <c:v>7.9478620251149996</c:v>
                </c:pt>
                <c:pt idx="251">
                  <c:v>0</c:v>
                </c:pt>
                <c:pt idx="252">
                  <c:v>0</c:v>
                </c:pt>
                <c:pt idx="253">
                  <c:v>6.5715975553649999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4.8063058733049999</c:v>
                </c:pt>
                <c:pt idx="258">
                  <c:v>0</c:v>
                </c:pt>
                <c:pt idx="259">
                  <c:v>4.4744731307879997</c:v>
                </c:pt>
                <c:pt idx="260">
                  <c:v>8.3924300281139992</c:v>
                </c:pt>
                <c:pt idx="261">
                  <c:v>11.678604796013</c:v>
                </c:pt>
                <c:pt idx="262">
                  <c:v>0</c:v>
                </c:pt>
                <c:pt idx="263">
                  <c:v>6.4639151934320003</c:v>
                </c:pt>
                <c:pt idx="264">
                  <c:v>6.3702382469099996</c:v>
                </c:pt>
                <c:pt idx="265">
                  <c:v>0</c:v>
                </c:pt>
                <c:pt idx="266">
                  <c:v>17.875230888398001</c:v>
                </c:pt>
                <c:pt idx="267">
                  <c:v>11.241323103729</c:v>
                </c:pt>
                <c:pt idx="268">
                  <c:v>15.521924718665</c:v>
                </c:pt>
                <c:pt idx="269">
                  <c:v>10.250102501024999</c:v>
                </c:pt>
                <c:pt idx="270">
                  <c:v>26.748370781052</c:v>
                </c:pt>
                <c:pt idx="271">
                  <c:v>14.470732942623</c:v>
                </c:pt>
                <c:pt idx="272">
                  <c:v>9.5737296857420002</c:v>
                </c:pt>
                <c:pt idx="273">
                  <c:v>29.924268581819</c:v>
                </c:pt>
                <c:pt idx="274">
                  <c:v>15.428697377121001</c:v>
                </c:pt>
                <c:pt idx="275">
                  <c:v>18.890894588807999</c:v>
                </c:pt>
                <c:pt idx="276">
                  <c:v>13.848771416135</c:v>
                </c:pt>
                <c:pt idx="277">
                  <c:v>29.473529086688998</c:v>
                </c:pt>
                <c:pt idx="278">
                  <c:v>21.889022655138</c:v>
                </c:pt>
                <c:pt idx="279">
                  <c:v>7.2567623954569997</c:v>
                </c:pt>
                <c:pt idx="280">
                  <c:v>29.926416223638</c:v>
                </c:pt>
                <c:pt idx="281">
                  <c:v>47.750605409461002</c:v>
                </c:pt>
                <c:pt idx="282">
                  <c:v>27.967886285864001</c:v>
                </c:pt>
                <c:pt idx="283">
                  <c:v>30.227341425774998</c:v>
                </c:pt>
                <c:pt idx="284">
                  <c:v>46.787509244306001</c:v>
                </c:pt>
                <c:pt idx="285">
                  <c:v>18.007473101336998</c:v>
                </c:pt>
                <c:pt idx="286">
                  <c:v>11.961364791722</c:v>
                </c:pt>
                <c:pt idx="287">
                  <c:v>54.092776421396998</c:v>
                </c:pt>
                <c:pt idx="288">
                  <c:v>57.922694394213003</c:v>
                </c:pt>
                <c:pt idx="289">
                  <c:v>26.708275348261001</c:v>
                </c:pt>
                <c:pt idx="290">
                  <c:v>30.141115221263</c:v>
                </c:pt>
                <c:pt idx="291">
                  <c:v>59.355008903250997</c:v>
                </c:pt>
                <c:pt idx="292">
                  <c:v>20.964360587001998</c:v>
                </c:pt>
                <c:pt idx="293">
                  <c:v>19.598108129294999</c:v>
                </c:pt>
                <c:pt idx="294">
                  <c:v>44.846496847931</c:v>
                </c:pt>
                <c:pt idx="295">
                  <c:v>56.339438859188</c:v>
                </c:pt>
                <c:pt idx="296">
                  <c:v>31.84752385502</c:v>
                </c:pt>
                <c:pt idx="297">
                  <c:v>56.237585852058999</c:v>
                </c:pt>
                <c:pt idx="298">
                  <c:v>40.254870839371002</c:v>
                </c:pt>
                <c:pt idx="299">
                  <c:v>28.579267456216002</c:v>
                </c:pt>
                <c:pt idx="300">
                  <c:v>26.161930978000999</c:v>
                </c:pt>
                <c:pt idx="301">
                  <c:v>50.260236334799998</c:v>
                </c:pt>
                <c:pt idx="302">
                  <c:v>40.539059932069001</c:v>
                </c:pt>
                <c:pt idx="303">
                  <c:v>49.489504997364001</c:v>
                </c:pt>
                <c:pt idx="304">
                  <c:v>43.162438151384002</c:v>
                </c:pt>
                <c:pt idx="305">
                  <c:v>45.631540520807</c:v>
                </c:pt>
                <c:pt idx="306">
                  <c:v>22.1865892153</c:v>
                </c:pt>
                <c:pt idx="307">
                  <c:v>24.120118188578999</c:v>
                </c:pt>
                <c:pt idx="308">
                  <c:v>51.471388836647002</c:v>
                </c:pt>
                <c:pt idx="309">
                  <c:v>41.859333171087002</c:v>
                </c:pt>
                <c:pt idx="310">
                  <c:v>30.592734225621001</c:v>
                </c:pt>
                <c:pt idx="311">
                  <c:v>37.560096153845997</c:v>
                </c:pt>
                <c:pt idx="312">
                  <c:v>26.481116224705001</c:v>
                </c:pt>
                <c:pt idx="313">
                  <c:v>15.435041175242</c:v>
                </c:pt>
                <c:pt idx="314">
                  <c:v>9.0482179534739995</c:v>
                </c:pt>
                <c:pt idx="315">
                  <c:v>39.347194276770999</c:v>
                </c:pt>
                <c:pt idx="316">
                  <c:v>37.984859058505002</c:v>
                </c:pt>
                <c:pt idx="317">
                  <c:v>34.875711682491001</c:v>
                </c:pt>
                <c:pt idx="318">
                  <c:v>15.459800225025001</c:v>
                </c:pt>
                <c:pt idx="319">
                  <c:v>31.998652688307001</c:v>
                </c:pt>
                <c:pt idx="320">
                  <c:v>15.939329877015</c:v>
                </c:pt>
                <c:pt idx="321">
                  <c:v>14.222370952898</c:v>
                </c:pt>
                <c:pt idx="322">
                  <c:v>26.492259292987001</c:v>
                </c:pt>
                <c:pt idx="323">
                  <c:v>29.501184144751999</c:v>
                </c:pt>
                <c:pt idx="324">
                  <c:v>17.870778028690001</c:v>
                </c:pt>
                <c:pt idx="325">
                  <c:v>19.426434520773999</c:v>
                </c:pt>
                <c:pt idx="326">
                  <c:v>5.6657223796030003</c:v>
                </c:pt>
                <c:pt idx="327">
                  <c:v>4.856254856254</c:v>
                </c:pt>
                <c:pt idx="328">
                  <c:v>7.2832033146660002</c:v>
                </c:pt>
                <c:pt idx="329">
                  <c:v>28.113127223949</c:v>
                </c:pt>
                <c:pt idx="330">
                  <c:v>29.480662279093998</c:v>
                </c:pt>
                <c:pt idx="331">
                  <c:v>27.646566296465</c:v>
                </c:pt>
                <c:pt idx="332">
                  <c:v>15.685413349855001</c:v>
                </c:pt>
                <c:pt idx="333">
                  <c:v>25.056769242815001</c:v>
                </c:pt>
                <c:pt idx="334">
                  <c:v>5.480824942451</c:v>
                </c:pt>
                <c:pt idx="335">
                  <c:v>25.804635450877001</c:v>
                </c:pt>
                <c:pt idx="336">
                  <c:v>60.520476094411002</c:v>
                </c:pt>
                <c:pt idx="337">
                  <c:v>50.721630469866</c:v>
                </c:pt>
                <c:pt idx="338">
                  <c:v>37.289580225868001</c:v>
                </c:pt>
                <c:pt idx="339">
                  <c:v>39.125396897054998</c:v>
                </c:pt>
                <c:pt idx="340">
                  <c:v>45.044379790580003</c:v>
                </c:pt>
                <c:pt idx="341">
                  <c:v>23.559207232675998</c:v>
                </c:pt>
                <c:pt idx="342">
                  <c:v>27.197483130209001</c:v>
                </c:pt>
                <c:pt idx="343">
                  <c:v>62.043342749322001</c:v>
                </c:pt>
                <c:pt idx="344">
                  <c:v>76.062153645549998</c:v>
                </c:pt>
                <c:pt idx="345">
                  <c:v>91.932228710147001</c:v>
                </c:pt>
                <c:pt idx="346">
                  <c:v>64.840215184010006</c:v>
                </c:pt>
                <c:pt idx="347">
                  <c:v>80.318455631098004</c:v>
                </c:pt>
                <c:pt idx="348">
                  <c:v>53.428191807208002</c:v>
                </c:pt>
                <c:pt idx="349">
                  <c:v>58.284879638211997</c:v>
                </c:pt>
                <c:pt idx="350">
                  <c:v>189.440277379712</c:v>
                </c:pt>
                <c:pt idx="351">
                  <c:v>182.98834579926901</c:v>
                </c:pt>
                <c:pt idx="352">
                  <c:v>223.617620791592</c:v>
                </c:pt>
                <c:pt idx="353">
                  <c:v>206.665656301235</c:v>
                </c:pt>
                <c:pt idx="354">
                  <c:v>231.33097439617799</c:v>
                </c:pt>
                <c:pt idx="355">
                  <c:v>125.145319017985</c:v>
                </c:pt>
                <c:pt idx="356">
                  <c:v>140.79597569560701</c:v>
                </c:pt>
                <c:pt idx="357">
                  <c:v>354.62199745434401</c:v>
                </c:pt>
                <c:pt idx="358">
                  <c:v>312.71197937864599</c:v>
                </c:pt>
                <c:pt idx="359">
                  <c:v>349.26768632113698</c:v>
                </c:pt>
                <c:pt idx="360">
                  <c:v>438.06524547803599</c:v>
                </c:pt>
                <c:pt idx="361">
                  <c:v>407.16449044266602</c:v>
                </c:pt>
                <c:pt idx="362">
                  <c:v>160.98434243573899</c:v>
                </c:pt>
                <c:pt idx="363">
                  <c:v>232.36403699128601</c:v>
                </c:pt>
                <c:pt idx="364">
                  <c:v>452.65736500159699</c:v>
                </c:pt>
                <c:pt idx="365">
                  <c:v>504.735213250627</c:v>
                </c:pt>
                <c:pt idx="366">
                  <c:v>400.90119939036498</c:v>
                </c:pt>
                <c:pt idx="367">
                  <c:v>351.78205382529899</c:v>
                </c:pt>
                <c:pt idx="368">
                  <c:v>292.61155815654701</c:v>
                </c:pt>
                <c:pt idx="369">
                  <c:v>235.18251348840801</c:v>
                </c:pt>
                <c:pt idx="370">
                  <c:v>136.99893298907901</c:v>
                </c:pt>
                <c:pt idx="371">
                  <c:v>481.50292059148501</c:v>
                </c:pt>
                <c:pt idx="372">
                  <c:v>358.51943293519702</c:v>
                </c:pt>
                <c:pt idx="373">
                  <c:v>302.867407009217</c:v>
                </c:pt>
                <c:pt idx="374">
                  <c:v>265.06102948394903</c:v>
                </c:pt>
                <c:pt idx="375">
                  <c:v>234.93327242470701</c:v>
                </c:pt>
                <c:pt idx="376">
                  <c:v>146.79880734124501</c:v>
                </c:pt>
                <c:pt idx="377">
                  <c:v>117.41300022830301</c:v>
                </c:pt>
                <c:pt idx="378">
                  <c:v>327.03370010618801</c:v>
                </c:pt>
                <c:pt idx="379">
                  <c:v>283.10728138911298</c:v>
                </c:pt>
                <c:pt idx="380">
                  <c:v>215.83949862824801</c:v>
                </c:pt>
                <c:pt idx="381">
                  <c:v>186.33459720562999</c:v>
                </c:pt>
                <c:pt idx="382">
                  <c:v>171.69439693152901</c:v>
                </c:pt>
                <c:pt idx="383">
                  <c:v>100.40355752476</c:v>
                </c:pt>
                <c:pt idx="384">
                  <c:v>81.611503335707994</c:v>
                </c:pt>
                <c:pt idx="385">
                  <c:v>232.34441337889601</c:v>
                </c:pt>
                <c:pt idx="386">
                  <c:v>172.66912844125599</c:v>
                </c:pt>
                <c:pt idx="387">
                  <c:v>151.19697606047799</c:v>
                </c:pt>
                <c:pt idx="388">
                  <c:v>135.55733429729599</c:v>
                </c:pt>
                <c:pt idx="389">
                  <c:v>115.3670153457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A0B-4754-90A8-6FC4E50C7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435</c:v>
                </c:pt>
                <c:pt idx="1">
                  <c:v>44436</c:v>
                </c:pt>
                <c:pt idx="2">
                  <c:v>44437</c:v>
                </c:pt>
                <c:pt idx="3">
                  <c:v>44438</c:v>
                </c:pt>
                <c:pt idx="4">
                  <c:v>44439</c:v>
                </c:pt>
                <c:pt idx="5">
                  <c:v>44440</c:v>
                </c:pt>
                <c:pt idx="6">
                  <c:v>44441</c:v>
                </c:pt>
                <c:pt idx="7">
                  <c:v>44442</c:v>
                </c:pt>
                <c:pt idx="8">
                  <c:v>44443</c:v>
                </c:pt>
                <c:pt idx="9">
                  <c:v>44444</c:v>
                </c:pt>
                <c:pt idx="10">
                  <c:v>44445</c:v>
                </c:pt>
                <c:pt idx="11">
                  <c:v>44446</c:v>
                </c:pt>
                <c:pt idx="12">
                  <c:v>44447</c:v>
                </c:pt>
                <c:pt idx="13">
                  <c:v>44448</c:v>
                </c:pt>
                <c:pt idx="14">
                  <c:v>44449</c:v>
                </c:pt>
                <c:pt idx="15">
                  <c:v>44450</c:v>
                </c:pt>
                <c:pt idx="16">
                  <c:v>44451</c:v>
                </c:pt>
                <c:pt idx="17">
                  <c:v>44452</c:v>
                </c:pt>
                <c:pt idx="18">
                  <c:v>44453</c:v>
                </c:pt>
                <c:pt idx="19">
                  <c:v>44454</c:v>
                </c:pt>
                <c:pt idx="20">
                  <c:v>44455</c:v>
                </c:pt>
                <c:pt idx="21">
                  <c:v>44456</c:v>
                </c:pt>
                <c:pt idx="22">
                  <c:v>44457</c:v>
                </c:pt>
                <c:pt idx="23">
                  <c:v>44458</c:v>
                </c:pt>
                <c:pt idx="24">
                  <c:v>44459</c:v>
                </c:pt>
                <c:pt idx="25">
                  <c:v>44460</c:v>
                </c:pt>
                <c:pt idx="26">
                  <c:v>44461</c:v>
                </c:pt>
                <c:pt idx="27">
                  <c:v>44462</c:v>
                </c:pt>
                <c:pt idx="28">
                  <c:v>44463</c:v>
                </c:pt>
                <c:pt idx="29">
                  <c:v>44464</c:v>
                </c:pt>
                <c:pt idx="30">
                  <c:v>44465</c:v>
                </c:pt>
                <c:pt idx="31">
                  <c:v>44466</c:v>
                </c:pt>
                <c:pt idx="32">
                  <c:v>44467</c:v>
                </c:pt>
                <c:pt idx="33">
                  <c:v>44468</c:v>
                </c:pt>
                <c:pt idx="34">
                  <c:v>44469</c:v>
                </c:pt>
                <c:pt idx="35">
                  <c:v>44470</c:v>
                </c:pt>
                <c:pt idx="36">
                  <c:v>44471</c:v>
                </c:pt>
                <c:pt idx="37">
                  <c:v>44472</c:v>
                </c:pt>
                <c:pt idx="38">
                  <c:v>44473</c:v>
                </c:pt>
                <c:pt idx="39">
                  <c:v>44474</c:v>
                </c:pt>
                <c:pt idx="40">
                  <c:v>44475</c:v>
                </c:pt>
                <c:pt idx="41">
                  <c:v>44476</c:v>
                </c:pt>
                <c:pt idx="42">
                  <c:v>44477</c:v>
                </c:pt>
                <c:pt idx="43">
                  <c:v>44478</c:v>
                </c:pt>
                <c:pt idx="44">
                  <c:v>44479</c:v>
                </c:pt>
                <c:pt idx="45">
                  <c:v>44480</c:v>
                </c:pt>
                <c:pt idx="46">
                  <c:v>44481</c:v>
                </c:pt>
                <c:pt idx="47">
                  <c:v>44482</c:v>
                </c:pt>
                <c:pt idx="48">
                  <c:v>44483</c:v>
                </c:pt>
                <c:pt idx="49">
                  <c:v>44484</c:v>
                </c:pt>
                <c:pt idx="50">
                  <c:v>44485</c:v>
                </c:pt>
                <c:pt idx="51">
                  <c:v>44486</c:v>
                </c:pt>
                <c:pt idx="52">
                  <c:v>44487</c:v>
                </c:pt>
                <c:pt idx="53">
                  <c:v>44488</c:v>
                </c:pt>
                <c:pt idx="54">
                  <c:v>44489</c:v>
                </c:pt>
                <c:pt idx="55">
                  <c:v>44490</c:v>
                </c:pt>
                <c:pt idx="56">
                  <c:v>44491</c:v>
                </c:pt>
                <c:pt idx="57">
                  <c:v>44492</c:v>
                </c:pt>
                <c:pt idx="58">
                  <c:v>44493</c:v>
                </c:pt>
                <c:pt idx="59">
                  <c:v>44494</c:v>
                </c:pt>
                <c:pt idx="60">
                  <c:v>44495</c:v>
                </c:pt>
                <c:pt idx="61">
                  <c:v>44496</c:v>
                </c:pt>
                <c:pt idx="62">
                  <c:v>44497</c:v>
                </c:pt>
                <c:pt idx="63">
                  <c:v>44498</c:v>
                </c:pt>
                <c:pt idx="64">
                  <c:v>44499</c:v>
                </c:pt>
                <c:pt idx="65">
                  <c:v>44500</c:v>
                </c:pt>
                <c:pt idx="66">
                  <c:v>44501</c:v>
                </c:pt>
                <c:pt idx="67">
                  <c:v>44502</c:v>
                </c:pt>
                <c:pt idx="68">
                  <c:v>44503</c:v>
                </c:pt>
                <c:pt idx="69">
                  <c:v>44504</c:v>
                </c:pt>
                <c:pt idx="70">
                  <c:v>44505</c:v>
                </c:pt>
                <c:pt idx="71">
                  <c:v>44506</c:v>
                </c:pt>
                <c:pt idx="72">
                  <c:v>44507</c:v>
                </c:pt>
                <c:pt idx="73">
                  <c:v>44508</c:v>
                </c:pt>
                <c:pt idx="74">
                  <c:v>44509</c:v>
                </c:pt>
                <c:pt idx="75">
                  <c:v>44510</c:v>
                </c:pt>
                <c:pt idx="76">
                  <c:v>44511</c:v>
                </c:pt>
                <c:pt idx="77">
                  <c:v>44512</c:v>
                </c:pt>
                <c:pt idx="78">
                  <c:v>44513</c:v>
                </c:pt>
                <c:pt idx="79">
                  <c:v>44514</c:v>
                </c:pt>
                <c:pt idx="80">
                  <c:v>44515</c:v>
                </c:pt>
                <c:pt idx="81">
                  <c:v>44516</c:v>
                </c:pt>
                <c:pt idx="82">
                  <c:v>44517</c:v>
                </c:pt>
                <c:pt idx="83">
                  <c:v>44518</c:v>
                </c:pt>
                <c:pt idx="84">
                  <c:v>44519</c:v>
                </c:pt>
                <c:pt idx="85">
                  <c:v>44520</c:v>
                </c:pt>
                <c:pt idx="86">
                  <c:v>44521</c:v>
                </c:pt>
                <c:pt idx="87">
                  <c:v>44522</c:v>
                </c:pt>
                <c:pt idx="88">
                  <c:v>44523</c:v>
                </c:pt>
                <c:pt idx="89">
                  <c:v>44524</c:v>
                </c:pt>
                <c:pt idx="90">
                  <c:v>44525</c:v>
                </c:pt>
                <c:pt idx="91">
                  <c:v>44526</c:v>
                </c:pt>
                <c:pt idx="92">
                  <c:v>44527</c:v>
                </c:pt>
                <c:pt idx="93">
                  <c:v>44528</c:v>
                </c:pt>
                <c:pt idx="94">
                  <c:v>44529</c:v>
                </c:pt>
                <c:pt idx="95">
                  <c:v>44530</c:v>
                </c:pt>
                <c:pt idx="96">
                  <c:v>44531</c:v>
                </c:pt>
                <c:pt idx="97">
                  <c:v>44532</c:v>
                </c:pt>
                <c:pt idx="98">
                  <c:v>44533</c:v>
                </c:pt>
                <c:pt idx="99">
                  <c:v>44534</c:v>
                </c:pt>
                <c:pt idx="100">
                  <c:v>44535</c:v>
                </c:pt>
                <c:pt idx="101">
                  <c:v>44536</c:v>
                </c:pt>
                <c:pt idx="102">
                  <c:v>44537</c:v>
                </c:pt>
                <c:pt idx="103">
                  <c:v>44538</c:v>
                </c:pt>
                <c:pt idx="104">
                  <c:v>44539</c:v>
                </c:pt>
                <c:pt idx="105">
                  <c:v>44540</c:v>
                </c:pt>
                <c:pt idx="106">
                  <c:v>44541</c:v>
                </c:pt>
                <c:pt idx="107">
                  <c:v>44542</c:v>
                </c:pt>
                <c:pt idx="108">
                  <c:v>44543</c:v>
                </c:pt>
                <c:pt idx="109">
                  <c:v>44544</c:v>
                </c:pt>
                <c:pt idx="110">
                  <c:v>44545</c:v>
                </c:pt>
                <c:pt idx="111">
                  <c:v>44546</c:v>
                </c:pt>
                <c:pt idx="112">
                  <c:v>44547</c:v>
                </c:pt>
                <c:pt idx="113">
                  <c:v>44548</c:v>
                </c:pt>
                <c:pt idx="114">
                  <c:v>44549</c:v>
                </c:pt>
                <c:pt idx="115">
                  <c:v>44550</c:v>
                </c:pt>
                <c:pt idx="116">
                  <c:v>44551</c:v>
                </c:pt>
                <c:pt idx="117">
                  <c:v>44552</c:v>
                </c:pt>
                <c:pt idx="118">
                  <c:v>44553</c:v>
                </c:pt>
                <c:pt idx="119">
                  <c:v>44554</c:v>
                </c:pt>
                <c:pt idx="120">
                  <c:v>44555</c:v>
                </c:pt>
                <c:pt idx="121">
                  <c:v>44556</c:v>
                </c:pt>
                <c:pt idx="122">
                  <c:v>44557</c:v>
                </c:pt>
                <c:pt idx="123">
                  <c:v>44558</c:v>
                </c:pt>
                <c:pt idx="124">
                  <c:v>44559</c:v>
                </c:pt>
                <c:pt idx="125">
                  <c:v>44560</c:v>
                </c:pt>
                <c:pt idx="126">
                  <c:v>44561</c:v>
                </c:pt>
                <c:pt idx="127">
                  <c:v>44562</c:v>
                </c:pt>
                <c:pt idx="128">
                  <c:v>44563</c:v>
                </c:pt>
                <c:pt idx="129">
                  <c:v>44564</c:v>
                </c:pt>
                <c:pt idx="130">
                  <c:v>44565</c:v>
                </c:pt>
                <c:pt idx="131">
                  <c:v>44566</c:v>
                </c:pt>
                <c:pt idx="132">
                  <c:v>44567</c:v>
                </c:pt>
                <c:pt idx="133">
                  <c:v>44568</c:v>
                </c:pt>
                <c:pt idx="134">
                  <c:v>44569</c:v>
                </c:pt>
                <c:pt idx="135">
                  <c:v>44570</c:v>
                </c:pt>
                <c:pt idx="136">
                  <c:v>44571</c:v>
                </c:pt>
                <c:pt idx="137">
                  <c:v>44572</c:v>
                </c:pt>
                <c:pt idx="138">
                  <c:v>44573</c:v>
                </c:pt>
                <c:pt idx="139">
                  <c:v>44574</c:v>
                </c:pt>
                <c:pt idx="140">
                  <c:v>44575</c:v>
                </c:pt>
                <c:pt idx="141">
                  <c:v>44576</c:v>
                </c:pt>
                <c:pt idx="142">
                  <c:v>44577</c:v>
                </c:pt>
                <c:pt idx="143">
                  <c:v>44578</c:v>
                </c:pt>
                <c:pt idx="144">
                  <c:v>44579</c:v>
                </c:pt>
                <c:pt idx="145">
                  <c:v>44580</c:v>
                </c:pt>
                <c:pt idx="146">
                  <c:v>44581</c:v>
                </c:pt>
                <c:pt idx="147">
                  <c:v>44582</c:v>
                </c:pt>
                <c:pt idx="148">
                  <c:v>44583</c:v>
                </c:pt>
                <c:pt idx="149">
                  <c:v>44584</c:v>
                </c:pt>
                <c:pt idx="150">
                  <c:v>44585</c:v>
                </c:pt>
                <c:pt idx="151">
                  <c:v>44586</c:v>
                </c:pt>
                <c:pt idx="152">
                  <c:v>44587</c:v>
                </c:pt>
                <c:pt idx="153">
                  <c:v>44588</c:v>
                </c:pt>
                <c:pt idx="154">
                  <c:v>44589</c:v>
                </c:pt>
                <c:pt idx="155">
                  <c:v>44590</c:v>
                </c:pt>
                <c:pt idx="156">
                  <c:v>44591</c:v>
                </c:pt>
                <c:pt idx="157">
                  <c:v>44592</c:v>
                </c:pt>
                <c:pt idx="158">
                  <c:v>44593</c:v>
                </c:pt>
                <c:pt idx="159">
                  <c:v>44594</c:v>
                </c:pt>
                <c:pt idx="160">
                  <c:v>44595</c:v>
                </c:pt>
                <c:pt idx="161">
                  <c:v>44596</c:v>
                </c:pt>
                <c:pt idx="162">
                  <c:v>44597</c:v>
                </c:pt>
                <c:pt idx="163">
                  <c:v>44598</c:v>
                </c:pt>
                <c:pt idx="164">
                  <c:v>44599</c:v>
                </c:pt>
                <c:pt idx="165">
                  <c:v>44600</c:v>
                </c:pt>
                <c:pt idx="166">
                  <c:v>44601</c:v>
                </c:pt>
                <c:pt idx="167">
                  <c:v>44602</c:v>
                </c:pt>
                <c:pt idx="168">
                  <c:v>44603</c:v>
                </c:pt>
                <c:pt idx="169">
                  <c:v>44604</c:v>
                </c:pt>
                <c:pt idx="170">
                  <c:v>44605</c:v>
                </c:pt>
                <c:pt idx="171">
                  <c:v>44606</c:v>
                </c:pt>
                <c:pt idx="172">
                  <c:v>44607</c:v>
                </c:pt>
                <c:pt idx="173">
                  <c:v>44608</c:v>
                </c:pt>
                <c:pt idx="174">
                  <c:v>44609</c:v>
                </c:pt>
                <c:pt idx="175">
                  <c:v>44610</c:v>
                </c:pt>
                <c:pt idx="176">
                  <c:v>44611</c:v>
                </c:pt>
                <c:pt idx="177">
                  <c:v>44612</c:v>
                </c:pt>
                <c:pt idx="178">
                  <c:v>44613</c:v>
                </c:pt>
                <c:pt idx="179">
                  <c:v>44614</c:v>
                </c:pt>
                <c:pt idx="180">
                  <c:v>44615</c:v>
                </c:pt>
                <c:pt idx="181">
                  <c:v>44616</c:v>
                </c:pt>
                <c:pt idx="182">
                  <c:v>44617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5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2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1</c:v>
                </c:pt>
                <c:pt idx="23">
                  <c:v>0</c:v>
                </c:pt>
                <c:pt idx="24">
                  <c:v>4</c:v>
                </c:pt>
                <c:pt idx="25">
                  <c:v>4</c:v>
                </c:pt>
                <c:pt idx="26">
                  <c:v>2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1</c:v>
                </c:pt>
                <c:pt idx="31">
                  <c:v>5</c:v>
                </c:pt>
                <c:pt idx="32">
                  <c:v>2</c:v>
                </c:pt>
                <c:pt idx="33">
                  <c:v>7</c:v>
                </c:pt>
                <c:pt idx="34">
                  <c:v>3</c:v>
                </c:pt>
                <c:pt idx="35">
                  <c:v>2</c:v>
                </c:pt>
                <c:pt idx="36">
                  <c:v>0</c:v>
                </c:pt>
                <c:pt idx="37">
                  <c:v>0</c:v>
                </c:pt>
                <c:pt idx="38">
                  <c:v>4</c:v>
                </c:pt>
                <c:pt idx="39">
                  <c:v>5</c:v>
                </c:pt>
                <c:pt idx="40">
                  <c:v>2</c:v>
                </c:pt>
                <c:pt idx="41">
                  <c:v>1</c:v>
                </c:pt>
                <c:pt idx="42">
                  <c:v>2</c:v>
                </c:pt>
                <c:pt idx="43">
                  <c:v>1</c:v>
                </c:pt>
                <c:pt idx="44">
                  <c:v>0</c:v>
                </c:pt>
                <c:pt idx="45">
                  <c:v>2</c:v>
                </c:pt>
                <c:pt idx="46">
                  <c:v>3</c:v>
                </c:pt>
                <c:pt idx="47">
                  <c:v>1</c:v>
                </c:pt>
                <c:pt idx="48">
                  <c:v>3</c:v>
                </c:pt>
                <c:pt idx="49">
                  <c:v>7</c:v>
                </c:pt>
                <c:pt idx="50">
                  <c:v>2</c:v>
                </c:pt>
                <c:pt idx="51">
                  <c:v>1</c:v>
                </c:pt>
                <c:pt idx="52">
                  <c:v>12</c:v>
                </c:pt>
                <c:pt idx="53">
                  <c:v>8</c:v>
                </c:pt>
                <c:pt idx="54">
                  <c:v>11</c:v>
                </c:pt>
                <c:pt idx="55">
                  <c:v>7</c:v>
                </c:pt>
                <c:pt idx="56">
                  <c:v>11</c:v>
                </c:pt>
                <c:pt idx="57">
                  <c:v>0</c:v>
                </c:pt>
                <c:pt idx="58">
                  <c:v>4</c:v>
                </c:pt>
                <c:pt idx="59">
                  <c:v>20</c:v>
                </c:pt>
                <c:pt idx="60">
                  <c:v>6</c:v>
                </c:pt>
                <c:pt idx="61">
                  <c:v>18</c:v>
                </c:pt>
                <c:pt idx="62">
                  <c:v>3</c:v>
                </c:pt>
                <c:pt idx="63">
                  <c:v>8</c:v>
                </c:pt>
                <c:pt idx="64">
                  <c:v>5</c:v>
                </c:pt>
                <c:pt idx="65">
                  <c:v>4</c:v>
                </c:pt>
                <c:pt idx="66">
                  <c:v>41</c:v>
                </c:pt>
                <c:pt idx="67">
                  <c:v>26</c:v>
                </c:pt>
                <c:pt idx="68">
                  <c:v>21</c:v>
                </c:pt>
                <c:pt idx="69">
                  <c:v>25</c:v>
                </c:pt>
                <c:pt idx="70">
                  <c:v>27</c:v>
                </c:pt>
                <c:pt idx="71">
                  <c:v>13</c:v>
                </c:pt>
                <c:pt idx="72">
                  <c:v>5</c:v>
                </c:pt>
                <c:pt idx="73">
                  <c:v>53</c:v>
                </c:pt>
                <c:pt idx="74">
                  <c:v>28</c:v>
                </c:pt>
                <c:pt idx="75">
                  <c:v>31</c:v>
                </c:pt>
                <c:pt idx="76">
                  <c:v>38</c:v>
                </c:pt>
                <c:pt idx="77">
                  <c:v>34</c:v>
                </c:pt>
                <c:pt idx="78">
                  <c:v>20</c:v>
                </c:pt>
                <c:pt idx="79">
                  <c:v>14</c:v>
                </c:pt>
                <c:pt idx="80">
                  <c:v>58</c:v>
                </c:pt>
                <c:pt idx="81">
                  <c:v>35</c:v>
                </c:pt>
                <c:pt idx="82">
                  <c:v>14</c:v>
                </c:pt>
                <c:pt idx="83">
                  <c:v>42</c:v>
                </c:pt>
                <c:pt idx="84">
                  <c:v>52</c:v>
                </c:pt>
                <c:pt idx="85">
                  <c:v>13</c:v>
                </c:pt>
                <c:pt idx="86">
                  <c:v>7</c:v>
                </c:pt>
                <c:pt idx="87">
                  <c:v>74</c:v>
                </c:pt>
                <c:pt idx="88">
                  <c:v>44</c:v>
                </c:pt>
                <c:pt idx="89">
                  <c:v>49</c:v>
                </c:pt>
                <c:pt idx="90">
                  <c:v>49</c:v>
                </c:pt>
                <c:pt idx="91">
                  <c:v>51</c:v>
                </c:pt>
                <c:pt idx="92">
                  <c:v>22</c:v>
                </c:pt>
                <c:pt idx="93">
                  <c:v>7</c:v>
                </c:pt>
                <c:pt idx="94">
                  <c:v>45</c:v>
                </c:pt>
                <c:pt idx="95">
                  <c:v>48</c:v>
                </c:pt>
                <c:pt idx="96">
                  <c:v>43</c:v>
                </c:pt>
                <c:pt idx="97">
                  <c:v>33</c:v>
                </c:pt>
                <c:pt idx="98">
                  <c:v>30</c:v>
                </c:pt>
                <c:pt idx="99">
                  <c:v>21</c:v>
                </c:pt>
                <c:pt idx="100">
                  <c:v>10</c:v>
                </c:pt>
                <c:pt idx="101">
                  <c:v>51</c:v>
                </c:pt>
                <c:pt idx="102">
                  <c:v>36</c:v>
                </c:pt>
                <c:pt idx="103">
                  <c:v>35</c:v>
                </c:pt>
                <c:pt idx="104">
                  <c:v>26</c:v>
                </c:pt>
                <c:pt idx="105">
                  <c:v>19</c:v>
                </c:pt>
                <c:pt idx="106">
                  <c:v>13</c:v>
                </c:pt>
                <c:pt idx="107">
                  <c:v>9</c:v>
                </c:pt>
                <c:pt idx="108">
                  <c:v>35</c:v>
                </c:pt>
                <c:pt idx="109">
                  <c:v>36</c:v>
                </c:pt>
                <c:pt idx="110">
                  <c:v>28</c:v>
                </c:pt>
                <c:pt idx="111">
                  <c:v>18</c:v>
                </c:pt>
                <c:pt idx="112">
                  <c:v>15</c:v>
                </c:pt>
                <c:pt idx="113">
                  <c:v>8</c:v>
                </c:pt>
                <c:pt idx="114">
                  <c:v>10</c:v>
                </c:pt>
                <c:pt idx="115">
                  <c:v>28</c:v>
                </c:pt>
                <c:pt idx="116">
                  <c:v>13</c:v>
                </c:pt>
                <c:pt idx="117">
                  <c:v>9</c:v>
                </c:pt>
                <c:pt idx="118">
                  <c:v>4</c:v>
                </c:pt>
                <c:pt idx="119">
                  <c:v>7</c:v>
                </c:pt>
                <c:pt idx="120">
                  <c:v>3</c:v>
                </c:pt>
                <c:pt idx="121">
                  <c:v>5</c:v>
                </c:pt>
                <c:pt idx="122">
                  <c:v>10</c:v>
                </c:pt>
                <c:pt idx="123">
                  <c:v>17</c:v>
                </c:pt>
                <c:pt idx="124">
                  <c:v>9</c:v>
                </c:pt>
                <c:pt idx="125">
                  <c:v>10</c:v>
                </c:pt>
                <c:pt idx="126">
                  <c:v>6</c:v>
                </c:pt>
                <c:pt idx="127">
                  <c:v>1</c:v>
                </c:pt>
                <c:pt idx="128">
                  <c:v>4</c:v>
                </c:pt>
                <c:pt idx="129">
                  <c:v>20</c:v>
                </c:pt>
                <c:pt idx="130">
                  <c:v>14</c:v>
                </c:pt>
                <c:pt idx="131">
                  <c:v>5</c:v>
                </c:pt>
                <c:pt idx="132">
                  <c:v>9</c:v>
                </c:pt>
                <c:pt idx="133">
                  <c:v>11</c:v>
                </c:pt>
                <c:pt idx="134">
                  <c:v>3</c:v>
                </c:pt>
                <c:pt idx="135">
                  <c:v>3</c:v>
                </c:pt>
                <c:pt idx="136">
                  <c:v>19</c:v>
                </c:pt>
                <c:pt idx="137">
                  <c:v>11</c:v>
                </c:pt>
                <c:pt idx="138">
                  <c:v>9</c:v>
                </c:pt>
                <c:pt idx="139">
                  <c:v>13</c:v>
                </c:pt>
                <c:pt idx="140">
                  <c:v>13</c:v>
                </c:pt>
                <c:pt idx="141">
                  <c:v>6</c:v>
                </c:pt>
                <c:pt idx="142">
                  <c:v>11</c:v>
                </c:pt>
                <c:pt idx="143">
                  <c:v>47</c:v>
                </c:pt>
                <c:pt idx="144">
                  <c:v>35</c:v>
                </c:pt>
                <c:pt idx="145">
                  <c:v>41</c:v>
                </c:pt>
                <c:pt idx="146">
                  <c:v>48</c:v>
                </c:pt>
                <c:pt idx="147">
                  <c:v>68</c:v>
                </c:pt>
                <c:pt idx="148">
                  <c:v>20</c:v>
                </c:pt>
                <c:pt idx="149">
                  <c:v>16</c:v>
                </c:pt>
                <c:pt idx="150">
                  <c:v>95</c:v>
                </c:pt>
                <c:pt idx="151">
                  <c:v>103</c:v>
                </c:pt>
                <c:pt idx="152">
                  <c:v>97</c:v>
                </c:pt>
                <c:pt idx="153">
                  <c:v>59</c:v>
                </c:pt>
                <c:pt idx="154">
                  <c:v>74</c:v>
                </c:pt>
                <c:pt idx="155">
                  <c:v>30</c:v>
                </c:pt>
                <c:pt idx="156">
                  <c:v>31</c:v>
                </c:pt>
                <c:pt idx="157">
                  <c:v>116</c:v>
                </c:pt>
                <c:pt idx="158">
                  <c:v>116</c:v>
                </c:pt>
                <c:pt idx="159">
                  <c:v>81</c:v>
                </c:pt>
                <c:pt idx="160" formatCode="General">
                  <c:v>70</c:v>
                </c:pt>
                <c:pt idx="161" formatCode="General">
                  <c:v>83</c:v>
                </c:pt>
                <c:pt idx="162" formatCode="General">
                  <c:v>32</c:v>
                </c:pt>
                <c:pt idx="163" formatCode="General">
                  <c:v>25</c:v>
                </c:pt>
                <c:pt idx="164" formatCode="General">
                  <c:v>133</c:v>
                </c:pt>
                <c:pt idx="165" formatCode="General">
                  <c:v>91</c:v>
                </c:pt>
                <c:pt idx="166" formatCode="General">
                  <c:v>64</c:v>
                </c:pt>
                <c:pt idx="167" formatCode="General">
                  <c:v>69</c:v>
                </c:pt>
                <c:pt idx="168" formatCode="General">
                  <c:v>52</c:v>
                </c:pt>
                <c:pt idx="169" formatCode="General">
                  <c:v>23</c:v>
                </c:pt>
                <c:pt idx="170" formatCode="General">
                  <c:v>26</c:v>
                </c:pt>
                <c:pt idx="171" formatCode="General">
                  <c:v>89</c:v>
                </c:pt>
                <c:pt idx="172" formatCode="General">
                  <c:v>75</c:v>
                </c:pt>
                <c:pt idx="173" formatCode="General">
                  <c:v>63</c:v>
                </c:pt>
                <c:pt idx="174" formatCode="General">
                  <c:v>52</c:v>
                </c:pt>
                <c:pt idx="175" formatCode="General">
                  <c:v>37</c:v>
                </c:pt>
                <c:pt idx="176" formatCode="General">
                  <c:v>27</c:v>
                </c:pt>
                <c:pt idx="177" formatCode="General">
                  <c:v>15</c:v>
                </c:pt>
                <c:pt idx="178" formatCode="General">
                  <c:v>62</c:v>
                </c:pt>
                <c:pt idx="179" formatCode="General">
                  <c:v>57</c:v>
                </c:pt>
                <c:pt idx="180" formatCode="General">
                  <c:v>51</c:v>
                </c:pt>
                <c:pt idx="181" formatCode="General">
                  <c:v>35</c:v>
                </c:pt>
                <c:pt idx="182" formatCode="General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34">
                  <c:v>0.41781269999999998</c:v>
                </c:pt>
                <c:pt idx="35">
                  <c:v>0.55708360000000001</c:v>
                </c:pt>
                <c:pt idx="36">
                  <c:v>1.3927091</c:v>
                </c:pt>
                <c:pt idx="37">
                  <c:v>3.2032310000000002</c:v>
                </c:pt>
                <c:pt idx="38">
                  <c:v>8.0777131000000004</c:v>
                </c:pt>
                <c:pt idx="39">
                  <c:v>48.6055499</c:v>
                </c:pt>
                <c:pt idx="40">
                  <c:v>88.854844799999995</c:v>
                </c:pt>
                <c:pt idx="41">
                  <c:v>165.03603630000001</c:v>
                </c:pt>
                <c:pt idx="42">
                  <c:v>270.1855784</c:v>
                </c:pt>
                <c:pt idx="43">
                  <c:v>255.28359040000001</c:v>
                </c:pt>
                <c:pt idx="44">
                  <c:v>205.84241489999999</c:v>
                </c:pt>
                <c:pt idx="45">
                  <c:v>151.52675740000001</c:v>
                </c:pt>
                <c:pt idx="46">
                  <c:v>105.01027120000001</c:v>
                </c:pt>
                <c:pt idx="47">
                  <c:v>66.989310900000007</c:v>
                </c:pt>
                <c:pt idx="48">
                  <c:v>69.496187399999997</c:v>
                </c:pt>
                <c:pt idx="49">
                  <c:v>64.203892600000003</c:v>
                </c:pt>
                <c:pt idx="50">
                  <c:v>81.612757200000004</c:v>
                </c:pt>
                <c:pt idx="51">
                  <c:v>91.361721299999999</c:v>
                </c:pt>
                <c:pt idx="52">
                  <c:v>100.90177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5E-407A-AC1D-1838C2884016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114.0628808</c:v>
                </c:pt>
                <c:pt idx="1">
                  <c:v>102.5033947</c:v>
                </c:pt>
                <c:pt idx="2">
                  <c:v>67.824936399999999</c:v>
                </c:pt>
                <c:pt idx="3">
                  <c:v>54.5941993</c:v>
                </c:pt>
                <c:pt idx="4">
                  <c:v>50.137529999999998</c:v>
                </c:pt>
                <c:pt idx="5">
                  <c:v>35.792625600000001</c:v>
                </c:pt>
                <c:pt idx="6">
                  <c:v>33.564290900000003</c:v>
                </c:pt>
                <c:pt idx="7">
                  <c:v>37.742418399999998</c:v>
                </c:pt>
                <c:pt idx="8">
                  <c:v>38.020960199999998</c:v>
                </c:pt>
                <c:pt idx="9">
                  <c:v>34.260645500000003</c:v>
                </c:pt>
                <c:pt idx="10">
                  <c:v>22.701159400000002</c:v>
                </c:pt>
                <c:pt idx="11">
                  <c:v>15.7376135</c:v>
                </c:pt>
                <c:pt idx="12">
                  <c:v>12.5343825</c:v>
                </c:pt>
                <c:pt idx="13">
                  <c:v>10.027506000000001</c:v>
                </c:pt>
                <c:pt idx="14">
                  <c:v>7.5206295000000001</c:v>
                </c:pt>
                <c:pt idx="15">
                  <c:v>5.7101075000000003</c:v>
                </c:pt>
                <c:pt idx="16">
                  <c:v>4.0388564999999996</c:v>
                </c:pt>
                <c:pt idx="17">
                  <c:v>2.3676054999999998</c:v>
                </c:pt>
                <c:pt idx="18">
                  <c:v>2.0890637000000001</c:v>
                </c:pt>
                <c:pt idx="19">
                  <c:v>2.0890637000000001</c:v>
                </c:pt>
                <c:pt idx="20">
                  <c:v>1.1141673000000001</c:v>
                </c:pt>
                <c:pt idx="21">
                  <c:v>0.27854180000000001</c:v>
                </c:pt>
                <c:pt idx="22">
                  <c:v>0.27854180000000001</c:v>
                </c:pt>
                <c:pt idx="23">
                  <c:v>0</c:v>
                </c:pt>
                <c:pt idx="24">
                  <c:v>0</c:v>
                </c:pt>
                <c:pt idx="25">
                  <c:v>0.27854180000000001</c:v>
                </c:pt>
                <c:pt idx="26">
                  <c:v>0.1392709</c:v>
                </c:pt>
                <c:pt idx="27">
                  <c:v>0.27854180000000001</c:v>
                </c:pt>
                <c:pt idx="28">
                  <c:v>0.1392709</c:v>
                </c:pt>
                <c:pt idx="29">
                  <c:v>0.41781269999999998</c:v>
                </c:pt>
                <c:pt idx="30">
                  <c:v>0</c:v>
                </c:pt>
                <c:pt idx="31">
                  <c:v>0.27854180000000001</c:v>
                </c:pt>
                <c:pt idx="32">
                  <c:v>0</c:v>
                </c:pt>
                <c:pt idx="33">
                  <c:v>0.1392709</c:v>
                </c:pt>
                <c:pt idx="34">
                  <c:v>1.1141673000000001</c:v>
                </c:pt>
                <c:pt idx="35">
                  <c:v>0.83562550000000002</c:v>
                </c:pt>
                <c:pt idx="36">
                  <c:v>0.55708360000000001</c:v>
                </c:pt>
                <c:pt idx="37">
                  <c:v>1.5319799999999999</c:v>
                </c:pt>
                <c:pt idx="38">
                  <c:v>2.2283346000000002</c:v>
                </c:pt>
                <c:pt idx="39">
                  <c:v>2.2283346000000002</c:v>
                </c:pt>
                <c:pt idx="40">
                  <c:v>1.3927091</c:v>
                </c:pt>
                <c:pt idx="41">
                  <c:v>6.1279203000000004</c:v>
                </c:pt>
                <c:pt idx="42">
                  <c:v>9.1918804999999999</c:v>
                </c:pt>
                <c:pt idx="43">
                  <c:v>15.041259</c:v>
                </c:pt>
                <c:pt idx="44">
                  <c:v>25.347306799999998</c:v>
                </c:pt>
                <c:pt idx="45">
                  <c:v>29.6647052</c:v>
                </c:pt>
                <c:pt idx="46">
                  <c:v>39.135127599999997</c:v>
                </c:pt>
                <c:pt idx="47">
                  <c:v>36.906792899999999</c:v>
                </c:pt>
                <c:pt idx="48">
                  <c:v>30.082518</c:v>
                </c:pt>
                <c:pt idx="49">
                  <c:v>23.118972100000001</c:v>
                </c:pt>
                <c:pt idx="50">
                  <c:v>14.0663625</c:v>
                </c:pt>
                <c:pt idx="51">
                  <c:v>7.6599003999999997</c:v>
                </c:pt>
                <c:pt idx="52">
                  <c:v>7.7991713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5E-407A-AC1D-1838C2884016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8.9133385999999994</c:v>
                </c:pt>
                <c:pt idx="1">
                  <c:v>9.8882349999999999</c:v>
                </c:pt>
                <c:pt idx="2">
                  <c:v>35.6533546</c:v>
                </c:pt>
                <c:pt idx="3">
                  <c:v>64.621705300000002</c:v>
                </c:pt>
                <c:pt idx="4">
                  <c:v>73.3957731</c:v>
                </c:pt>
                <c:pt idx="5">
                  <c:v>64.900247199999995</c:v>
                </c:pt>
                <c:pt idx="6">
                  <c:v>50.833884599999998</c:v>
                </c:pt>
                <c:pt idx="7">
                  <c:v>36.4889800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5E-407A-AC1D-1838C28840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74.728930000000005</c:v>
                </c:pt>
                <c:pt idx="1">
                  <c:v>61.08399</c:v>
                </c:pt>
                <c:pt idx="2">
                  <c:v>55.990569999999998</c:v>
                </c:pt>
                <c:pt idx="3">
                  <c:v>55.639569999999999</c:v>
                </c:pt>
                <c:pt idx="4">
                  <c:v>53.809609999999999</c:v>
                </c:pt>
                <c:pt idx="5">
                  <c:v>56.54007</c:v>
                </c:pt>
                <c:pt idx="6">
                  <c:v>66.512550000000005</c:v>
                </c:pt>
                <c:pt idx="7">
                  <c:v>50.747549999999997</c:v>
                </c:pt>
                <c:pt idx="8">
                  <c:v>57.207999999999998</c:v>
                </c:pt>
                <c:pt idx="9">
                  <c:v>56.214359999999999</c:v>
                </c:pt>
                <c:pt idx="10">
                  <c:v>62.05353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13.07823</c:v>
                </c:pt>
                <c:pt idx="1">
                  <c:v>22.2639</c:v>
                </c:pt>
                <c:pt idx="2">
                  <c:v>24.638059999999999</c:v>
                </c:pt>
                <c:pt idx="3">
                  <c:v>23.601479999999999</c:v>
                </c:pt>
                <c:pt idx="4">
                  <c:v>25.831430000000001</c:v>
                </c:pt>
                <c:pt idx="5">
                  <c:v>25.174040000000002</c:v>
                </c:pt>
                <c:pt idx="6">
                  <c:v>19.903130000000001</c:v>
                </c:pt>
                <c:pt idx="7">
                  <c:v>25.158650000000002</c:v>
                </c:pt>
                <c:pt idx="8">
                  <c:v>24.85707</c:v>
                </c:pt>
                <c:pt idx="9">
                  <c:v>24.84329</c:v>
                </c:pt>
                <c:pt idx="10">
                  <c:v>21.22115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0.34995120000000002</c:v>
                </c:pt>
                <c:pt idx="1">
                  <c:v>0.57931929999999998</c:v>
                </c:pt>
                <c:pt idx="2">
                  <c:v>0.56980980000000003</c:v>
                </c:pt>
                <c:pt idx="3">
                  <c:v>0.60911570000000004</c:v>
                </c:pt>
                <c:pt idx="4">
                  <c:v>0.87981699999999996</c:v>
                </c:pt>
                <c:pt idx="5">
                  <c:v>0.59947399999999995</c:v>
                </c:pt>
                <c:pt idx="6">
                  <c:v>0.52840160000000003</c:v>
                </c:pt>
                <c:pt idx="7">
                  <c:v>0.58083249999999997</c:v>
                </c:pt>
                <c:pt idx="8">
                  <c:v>0.54451400000000005</c:v>
                </c:pt>
                <c:pt idx="9">
                  <c:v>0.47132020000000002</c:v>
                </c:pt>
                <c:pt idx="10">
                  <c:v>0.5278395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3.2260529999999998</c:v>
                </c:pt>
                <c:pt idx="1">
                  <c:v>9.4125130000000006</c:v>
                </c:pt>
                <c:pt idx="2">
                  <c:v>10.07709</c:v>
                </c:pt>
                <c:pt idx="3">
                  <c:v>9.6268290000000007</c:v>
                </c:pt>
                <c:pt idx="4">
                  <c:v>11.472810000000001</c:v>
                </c:pt>
                <c:pt idx="5">
                  <c:v>9.9628709999999998</c:v>
                </c:pt>
                <c:pt idx="6">
                  <c:v>7.1554380000000002</c:v>
                </c:pt>
                <c:pt idx="7">
                  <c:v>12.20824</c:v>
                </c:pt>
                <c:pt idx="8">
                  <c:v>10.02586</c:v>
                </c:pt>
                <c:pt idx="9">
                  <c:v>9.5159540000000007</c:v>
                </c:pt>
                <c:pt idx="10">
                  <c:v>8.364656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8.6168320000000005</c:v>
                </c:pt>
                <c:pt idx="1">
                  <c:v>6.660272</c:v>
                </c:pt>
                <c:pt idx="2">
                  <c:v>8.7244689999999991</c:v>
                </c:pt>
                <c:pt idx="3">
                  <c:v>10.523</c:v>
                </c:pt>
                <c:pt idx="4">
                  <c:v>8.006335</c:v>
                </c:pt>
                <c:pt idx="5">
                  <c:v>7.7235459999999998</c:v>
                </c:pt>
                <c:pt idx="6">
                  <c:v>5.9004839999999996</c:v>
                </c:pt>
                <c:pt idx="7">
                  <c:v>11.30472</c:v>
                </c:pt>
                <c:pt idx="8">
                  <c:v>7.3645519999999998</c:v>
                </c:pt>
                <c:pt idx="9">
                  <c:v>8.9550830000000001</c:v>
                </c:pt>
                <c:pt idx="10">
                  <c:v>7.832818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Liberecký kraj</c:v>
                </c:pt>
                <c:pt idx="2">
                  <c:v>Královéhradecký kraj</c:v>
                </c:pt>
                <c:pt idx="3">
                  <c:v>Kraj Vysočina</c:v>
                </c:pt>
                <c:pt idx="4">
                  <c:v>Středočeský kraj</c:v>
                </c:pt>
                <c:pt idx="5">
                  <c:v>Jihočeský kraj</c:v>
                </c:pt>
                <c:pt idx="6">
                  <c:v>Pardubický kraj</c:v>
                </c:pt>
                <c:pt idx="7">
                  <c:v>Ústecký kraj</c:v>
                </c:pt>
                <c:pt idx="8">
                  <c:v>Hlavní město Praha</c:v>
                </c:pt>
                <c:pt idx="9">
                  <c:v>ČR</c:v>
                </c:pt>
                <c:pt idx="10">
                  <c:v>Olomoucký kraj</c:v>
                </c:pt>
                <c:pt idx="11">
                  <c:v>Zlínský kraj</c:v>
                </c:pt>
                <c:pt idx="12">
                  <c:v>Jihomoravs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652500000000003</c:v>
                </c:pt>
                <c:pt idx="1">
                  <c:v>90.304929999999999</c:v>
                </c:pt>
                <c:pt idx="2">
                  <c:v>90.267269999999996</c:v>
                </c:pt>
                <c:pt idx="3">
                  <c:v>90.120660000000001</c:v>
                </c:pt>
                <c:pt idx="4">
                  <c:v>89.938220000000001</c:v>
                </c:pt>
                <c:pt idx="5">
                  <c:v>89.695210000000003</c:v>
                </c:pt>
                <c:pt idx="6">
                  <c:v>89.193190000000001</c:v>
                </c:pt>
                <c:pt idx="7">
                  <c:v>89.086539999999999</c:v>
                </c:pt>
                <c:pt idx="8">
                  <c:v>88.938239999999993</c:v>
                </c:pt>
                <c:pt idx="9">
                  <c:v>87.989869999999996</c:v>
                </c:pt>
                <c:pt idx="10">
                  <c:v>87.227270000000004</c:v>
                </c:pt>
                <c:pt idx="11">
                  <c:v>85.214010000000002</c:v>
                </c:pt>
                <c:pt idx="12">
                  <c:v>84.988709999999998</c:v>
                </c:pt>
                <c:pt idx="13">
                  <c:v>84.336129999999997</c:v>
                </c:pt>
                <c:pt idx="14">
                  <c:v>84.33566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Královéhradecký kraj</c:v>
                </c:pt>
                <c:pt idx="5">
                  <c:v>Hlavní město Praha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Liberecký kraj</c:v>
                </c:pt>
                <c:pt idx="9">
                  <c:v>ČR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Zlín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8.605329999999995</c:v>
                </c:pt>
                <c:pt idx="1">
                  <c:v>88.31241</c:v>
                </c:pt>
                <c:pt idx="2">
                  <c:v>87.819950000000006</c:v>
                </c:pt>
                <c:pt idx="3">
                  <c:v>87.5</c:v>
                </c:pt>
                <c:pt idx="4">
                  <c:v>86.449309999999997</c:v>
                </c:pt>
                <c:pt idx="5">
                  <c:v>86.244519999999994</c:v>
                </c:pt>
                <c:pt idx="6">
                  <c:v>85.251549999999995</c:v>
                </c:pt>
                <c:pt idx="7">
                  <c:v>84.691490000000002</c:v>
                </c:pt>
                <c:pt idx="8">
                  <c:v>84.438959999999994</c:v>
                </c:pt>
                <c:pt idx="9">
                  <c:v>84.222790000000003</c:v>
                </c:pt>
                <c:pt idx="10">
                  <c:v>83.369479999999996</c:v>
                </c:pt>
                <c:pt idx="11">
                  <c:v>81.497479999999996</c:v>
                </c:pt>
                <c:pt idx="12">
                  <c:v>79.307329999999993</c:v>
                </c:pt>
                <c:pt idx="13">
                  <c:v>79.29365</c:v>
                </c:pt>
                <c:pt idx="14">
                  <c:v>77.94988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22 Psycholog ve zdravotnictví</c:v>
                </c:pt>
                <c:pt idx="13">
                  <c:v>§ 35 Řidič vozidla zdravotnické záchranné služby</c:v>
                </c:pt>
                <c:pt idx="14">
                  <c:v>§ 17 Dentální hygienistka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7 Ergoterapeut</c:v>
                </c:pt>
                <c:pt idx="18">
                  <c:v>§ 11 Optometrista</c:v>
                </c:pt>
                <c:pt idx="19">
                  <c:v>§ 10 Zdravotně-sociální pracovník</c:v>
                </c:pt>
                <c:pt idx="20">
                  <c:v>§ 23 Logoped ve zdravotnictví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21 Radiologický technik</c:v>
                </c:pt>
                <c:pt idx="34">
                  <c:v>§ 41 Autoptický laborant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5776</c:v>
                </c:pt>
                <c:pt idx="1">
                  <c:v>2809</c:v>
                </c:pt>
                <c:pt idx="2">
                  <c:v>2258</c:v>
                </c:pt>
                <c:pt idx="3">
                  <c:v>2084</c:v>
                </c:pt>
                <c:pt idx="4">
                  <c:v>1844</c:v>
                </c:pt>
                <c:pt idx="5">
                  <c:v>1256</c:v>
                </c:pt>
                <c:pt idx="6">
                  <c:v>1109</c:v>
                </c:pt>
                <c:pt idx="7">
                  <c:v>1028</c:v>
                </c:pt>
                <c:pt idx="8">
                  <c:v>867</c:v>
                </c:pt>
                <c:pt idx="9">
                  <c:v>852</c:v>
                </c:pt>
                <c:pt idx="10">
                  <c:v>707</c:v>
                </c:pt>
                <c:pt idx="11">
                  <c:v>543</c:v>
                </c:pt>
                <c:pt idx="12">
                  <c:v>441</c:v>
                </c:pt>
                <c:pt idx="13">
                  <c:v>433</c:v>
                </c:pt>
                <c:pt idx="14">
                  <c:v>400</c:v>
                </c:pt>
                <c:pt idx="15">
                  <c:v>295</c:v>
                </c:pt>
                <c:pt idx="16">
                  <c:v>247</c:v>
                </c:pt>
                <c:pt idx="17">
                  <c:v>238</c:v>
                </c:pt>
                <c:pt idx="18">
                  <c:v>222</c:v>
                </c:pt>
                <c:pt idx="19">
                  <c:v>220</c:v>
                </c:pt>
                <c:pt idx="20">
                  <c:v>214</c:v>
                </c:pt>
                <c:pt idx="21">
                  <c:v>209</c:v>
                </c:pt>
                <c:pt idx="22">
                  <c:v>110</c:v>
                </c:pt>
                <c:pt idx="23">
                  <c:v>72</c:v>
                </c:pt>
                <c:pt idx="24">
                  <c:v>60</c:v>
                </c:pt>
                <c:pt idx="25">
                  <c:v>54</c:v>
                </c:pt>
                <c:pt idx="26">
                  <c:v>44</c:v>
                </c:pt>
                <c:pt idx="27">
                  <c:v>41</c:v>
                </c:pt>
                <c:pt idx="28">
                  <c:v>32</c:v>
                </c:pt>
                <c:pt idx="29">
                  <c:v>25</c:v>
                </c:pt>
                <c:pt idx="30">
                  <c:v>17</c:v>
                </c:pt>
                <c:pt idx="31">
                  <c:v>13</c:v>
                </c:pt>
                <c:pt idx="32">
                  <c:v>11</c:v>
                </c:pt>
                <c:pt idx="33">
                  <c:v>5</c:v>
                </c:pt>
                <c:pt idx="34">
                  <c:v>5</c:v>
                </c:pt>
                <c:pt idx="3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18 Zdravotnický záchranář</c:v>
                </c:pt>
                <c:pt idx="6">
                  <c:v>§ 36 Ošetřovatel</c:v>
                </c:pt>
                <c:pt idx="7">
                  <c:v>§ 39 Zubní instrumentářka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22 Psycholog ve zdravotnictví</c:v>
                </c:pt>
                <c:pt idx="12">
                  <c:v>§ 40 Řidič zdravotnické dopravní služby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37 Masér ve zdravotnictví, nevidomý a slabozraký masér ve zdravotnictví</c:v>
                </c:pt>
                <c:pt idx="16">
                  <c:v>§ 7 Ergoterapeut</c:v>
                </c:pt>
                <c:pt idx="17">
                  <c:v>§ 15 Nutriční terapeut</c:v>
                </c:pt>
                <c:pt idx="18">
                  <c:v>§ 23 Logoped ve zdravotnictví</c:v>
                </c:pt>
                <c:pt idx="19">
                  <c:v>§ 30 Laboratorní asistent</c:v>
                </c:pt>
                <c:pt idx="20">
                  <c:v>§ 10 Zdravotně-sociální pracovník</c:v>
                </c:pt>
                <c:pt idx="21">
                  <c:v>§ 11 Optometrista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25 Radiologický fyzik</c:v>
                </c:pt>
                <c:pt idx="27">
                  <c:v>§ 13 Asistent ochrany a podpory veřejného zdraví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21 Radiologický technik</c:v>
                </c:pt>
                <c:pt idx="34">
                  <c:v>§ 41 Autoptický laborant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3387</c:v>
                </c:pt>
                <c:pt idx="1">
                  <c:v>1873</c:v>
                </c:pt>
                <c:pt idx="2">
                  <c:v>1477</c:v>
                </c:pt>
                <c:pt idx="3">
                  <c:v>1441</c:v>
                </c:pt>
                <c:pt idx="4">
                  <c:v>1179</c:v>
                </c:pt>
                <c:pt idx="5">
                  <c:v>730</c:v>
                </c:pt>
                <c:pt idx="6">
                  <c:v>717</c:v>
                </c:pt>
                <c:pt idx="7">
                  <c:v>678</c:v>
                </c:pt>
                <c:pt idx="8">
                  <c:v>635</c:v>
                </c:pt>
                <c:pt idx="9">
                  <c:v>557</c:v>
                </c:pt>
                <c:pt idx="10">
                  <c:v>446</c:v>
                </c:pt>
                <c:pt idx="11">
                  <c:v>329</c:v>
                </c:pt>
                <c:pt idx="12">
                  <c:v>319</c:v>
                </c:pt>
                <c:pt idx="13">
                  <c:v>271</c:v>
                </c:pt>
                <c:pt idx="14">
                  <c:v>253</c:v>
                </c:pt>
                <c:pt idx="15">
                  <c:v>181</c:v>
                </c:pt>
                <c:pt idx="16">
                  <c:v>165</c:v>
                </c:pt>
                <c:pt idx="17">
                  <c:v>164</c:v>
                </c:pt>
                <c:pt idx="18">
                  <c:v>160</c:v>
                </c:pt>
                <c:pt idx="19">
                  <c:v>144</c:v>
                </c:pt>
                <c:pt idx="20">
                  <c:v>139</c:v>
                </c:pt>
                <c:pt idx="21">
                  <c:v>139</c:v>
                </c:pt>
                <c:pt idx="22">
                  <c:v>75</c:v>
                </c:pt>
                <c:pt idx="23">
                  <c:v>47</c:v>
                </c:pt>
                <c:pt idx="24">
                  <c:v>41</c:v>
                </c:pt>
                <c:pt idx="25">
                  <c:v>37</c:v>
                </c:pt>
                <c:pt idx="26">
                  <c:v>35</c:v>
                </c:pt>
                <c:pt idx="27">
                  <c:v>32</c:v>
                </c:pt>
                <c:pt idx="28">
                  <c:v>20</c:v>
                </c:pt>
                <c:pt idx="29">
                  <c:v>17</c:v>
                </c:pt>
                <c:pt idx="30">
                  <c:v>12</c:v>
                </c:pt>
                <c:pt idx="31">
                  <c:v>6</c:v>
                </c:pt>
                <c:pt idx="32">
                  <c:v>6</c:v>
                </c:pt>
                <c:pt idx="33">
                  <c:v>4</c:v>
                </c:pt>
                <c:pt idx="34">
                  <c:v>4</c:v>
                </c:pt>
                <c:pt idx="3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§ 9 Zdravotní laborant</c:v>
                </c:pt>
                <c:pt idx="3">
                  <c:v>farmaceut</c:v>
                </c:pt>
                <c:pt idx="4">
                  <c:v>§ 19 Farmaceutický asistent</c:v>
                </c:pt>
                <c:pt idx="5">
                  <c:v>§ 18 Zdravotnický záchranář</c:v>
                </c:pt>
                <c:pt idx="6">
                  <c:v>§ 36 Ošetřovatel</c:v>
                </c:pt>
                <c:pt idx="7">
                  <c:v>§ 39 Zubní instrumentářka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22 Psycholog ve zdravotnictví</c:v>
                </c:pt>
                <c:pt idx="12">
                  <c:v>§ 40 Řidič zdravotnické dopravní služby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7 Ergoterapeut</c:v>
                </c:pt>
                <c:pt idx="16">
                  <c:v>§ 30 Laboratorní asistent</c:v>
                </c:pt>
                <c:pt idx="17">
                  <c:v>§ 37 Masér ve zdravotnictví, nevidomý a slabozraký masér ve zdravotnictví</c:v>
                </c:pt>
                <c:pt idx="18">
                  <c:v>§ 15 Nutriční terapeut</c:v>
                </c:pt>
                <c:pt idx="19">
                  <c:v>§ 23 Logoped ve zdravotnictví</c:v>
                </c:pt>
                <c:pt idx="20">
                  <c:v>§ 10 Zdravotně-sociální pracovník</c:v>
                </c:pt>
                <c:pt idx="21">
                  <c:v>§ 11 Optometrista</c:v>
                </c:pt>
                <c:pt idx="22">
                  <c:v>§ 27 Biomedicínský inženýr</c:v>
                </c:pt>
                <c:pt idx="23">
                  <c:v>§ 28 Odborný pracovník v ochraně a podpoře veřejného zdraví</c:v>
                </c:pt>
                <c:pt idx="24">
                  <c:v>§ 33 Asistent zubního technika</c:v>
                </c:pt>
                <c:pt idx="25">
                  <c:v>§ 13 Asistent ochrany a podpory veřejného zdraví</c:v>
                </c:pt>
                <c:pt idx="26">
                  <c:v>§ 25 Radiologický fyzik</c:v>
                </c:pt>
                <c:pt idx="27">
                  <c:v>§ 21a Adiktolog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21 Radiologický technik</c:v>
                </c:pt>
                <c:pt idx="33">
                  <c:v>§ 32 Nutriční asistent</c:v>
                </c:pt>
                <c:pt idx="34">
                  <c:v>§ 23a Zrakový terapeut</c:v>
                </c:pt>
                <c:pt idx="35">
                  <c:v>§ 41 Autoptický laboran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2113</c:v>
                </c:pt>
                <c:pt idx="1">
                  <c:v>1138</c:v>
                </c:pt>
                <c:pt idx="2">
                  <c:v>874</c:v>
                </c:pt>
                <c:pt idx="3">
                  <c:v>859</c:v>
                </c:pt>
                <c:pt idx="4">
                  <c:v>694</c:v>
                </c:pt>
                <c:pt idx="5">
                  <c:v>480</c:v>
                </c:pt>
                <c:pt idx="6">
                  <c:v>422</c:v>
                </c:pt>
                <c:pt idx="7">
                  <c:v>411</c:v>
                </c:pt>
                <c:pt idx="8">
                  <c:v>398</c:v>
                </c:pt>
                <c:pt idx="9">
                  <c:v>363</c:v>
                </c:pt>
                <c:pt idx="10">
                  <c:v>264</c:v>
                </c:pt>
                <c:pt idx="11">
                  <c:v>227</c:v>
                </c:pt>
                <c:pt idx="12">
                  <c:v>191</c:v>
                </c:pt>
                <c:pt idx="13">
                  <c:v>174</c:v>
                </c:pt>
                <c:pt idx="14">
                  <c:v>161</c:v>
                </c:pt>
                <c:pt idx="15">
                  <c:v>103</c:v>
                </c:pt>
                <c:pt idx="16">
                  <c:v>100</c:v>
                </c:pt>
                <c:pt idx="17">
                  <c:v>99</c:v>
                </c:pt>
                <c:pt idx="18">
                  <c:v>92</c:v>
                </c:pt>
                <c:pt idx="19">
                  <c:v>91</c:v>
                </c:pt>
                <c:pt idx="20">
                  <c:v>86</c:v>
                </c:pt>
                <c:pt idx="21">
                  <c:v>77</c:v>
                </c:pt>
                <c:pt idx="22">
                  <c:v>44</c:v>
                </c:pt>
                <c:pt idx="23">
                  <c:v>28</c:v>
                </c:pt>
                <c:pt idx="24">
                  <c:v>27</c:v>
                </c:pt>
                <c:pt idx="25">
                  <c:v>23</c:v>
                </c:pt>
                <c:pt idx="26">
                  <c:v>23</c:v>
                </c:pt>
                <c:pt idx="27">
                  <c:v>21</c:v>
                </c:pt>
                <c:pt idx="28">
                  <c:v>14</c:v>
                </c:pt>
                <c:pt idx="29">
                  <c:v>11</c:v>
                </c:pt>
                <c:pt idx="30">
                  <c:v>7</c:v>
                </c:pt>
                <c:pt idx="31">
                  <c:v>5</c:v>
                </c:pt>
                <c:pt idx="32">
                  <c:v>3</c:v>
                </c:pt>
                <c:pt idx="33">
                  <c:v>3</c:v>
                </c:pt>
                <c:pt idx="34">
                  <c:v>1</c:v>
                </c:pt>
                <c:pt idx="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9.32511328268768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7.08.21</c:v>
                </c:pt>
                <c:pt idx="1">
                  <c:v>28.08.21</c:v>
                </c:pt>
                <c:pt idx="2">
                  <c:v>29.08.21</c:v>
                </c:pt>
                <c:pt idx="3">
                  <c:v>30.08.21</c:v>
                </c:pt>
                <c:pt idx="4">
                  <c:v>31.08.21</c:v>
                </c:pt>
                <c:pt idx="5">
                  <c:v>01.09.21</c:v>
                </c:pt>
                <c:pt idx="6">
                  <c:v>02.09.21</c:v>
                </c:pt>
                <c:pt idx="7">
                  <c:v>03.09.21</c:v>
                </c:pt>
                <c:pt idx="8">
                  <c:v>04.09.21</c:v>
                </c:pt>
                <c:pt idx="9">
                  <c:v>05.09.21</c:v>
                </c:pt>
                <c:pt idx="10">
                  <c:v>06.09.21</c:v>
                </c:pt>
                <c:pt idx="11">
                  <c:v>07.09.21</c:v>
                </c:pt>
                <c:pt idx="12">
                  <c:v>08.09.21</c:v>
                </c:pt>
                <c:pt idx="13">
                  <c:v>09.09.21</c:v>
                </c:pt>
                <c:pt idx="14">
                  <c:v>10.09.21</c:v>
                </c:pt>
                <c:pt idx="15">
                  <c:v>11.09.21</c:v>
                </c:pt>
                <c:pt idx="16">
                  <c:v>12.09.21</c:v>
                </c:pt>
                <c:pt idx="17">
                  <c:v>13.09.21</c:v>
                </c:pt>
                <c:pt idx="18">
                  <c:v>14.09.21</c:v>
                </c:pt>
                <c:pt idx="19">
                  <c:v>15.09.21</c:v>
                </c:pt>
                <c:pt idx="20">
                  <c:v>16.09.21</c:v>
                </c:pt>
                <c:pt idx="21">
                  <c:v>17.09.21</c:v>
                </c:pt>
                <c:pt idx="22">
                  <c:v>18.09.21</c:v>
                </c:pt>
                <c:pt idx="23">
                  <c:v>19.09.21</c:v>
                </c:pt>
                <c:pt idx="24">
                  <c:v>20.09.21</c:v>
                </c:pt>
                <c:pt idx="25">
                  <c:v>21.09.21</c:v>
                </c:pt>
                <c:pt idx="26">
                  <c:v>22.09.21</c:v>
                </c:pt>
                <c:pt idx="27">
                  <c:v>23.09.21</c:v>
                </c:pt>
                <c:pt idx="28">
                  <c:v>24.09.21</c:v>
                </c:pt>
                <c:pt idx="29">
                  <c:v>25.09.21</c:v>
                </c:pt>
                <c:pt idx="30">
                  <c:v>26.09.21</c:v>
                </c:pt>
                <c:pt idx="31">
                  <c:v>27.09.21</c:v>
                </c:pt>
                <c:pt idx="32">
                  <c:v>28.09.21</c:v>
                </c:pt>
                <c:pt idx="33">
                  <c:v>29.09.21</c:v>
                </c:pt>
                <c:pt idx="34">
                  <c:v>30.09.21</c:v>
                </c:pt>
                <c:pt idx="35">
                  <c:v>01.10.21</c:v>
                </c:pt>
                <c:pt idx="36">
                  <c:v>02.10.21</c:v>
                </c:pt>
                <c:pt idx="37">
                  <c:v>03.10.21</c:v>
                </c:pt>
                <c:pt idx="38">
                  <c:v>04.10.21</c:v>
                </c:pt>
                <c:pt idx="39">
                  <c:v>05.10.21</c:v>
                </c:pt>
                <c:pt idx="40">
                  <c:v>06.10.21</c:v>
                </c:pt>
                <c:pt idx="41">
                  <c:v>07.10.21</c:v>
                </c:pt>
                <c:pt idx="42">
                  <c:v>08.10.21</c:v>
                </c:pt>
                <c:pt idx="43">
                  <c:v>09.10.21</c:v>
                </c:pt>
                <c:pt idx="44">
                  <c:v>10.10.21</c:v>
                </c:pt>
                <c:pt idx="45">
                  <c:v>11.10.21</c:v>
                </c:pt>
                <c:pt idx="46">
                  <c:v>12.10.21</c:v>
                </c:pt>
                <c:pt idx="47">
                  <c:v>13.10.21</c:v>
                </c:pt>
                <c:pt idx="48">
                  <c:v>14.10.21</c:v>
                </c:pt>
                <c:pt idx="49">
                  <c:v>15.10.21</c:v>
                </c:pt>
                <c:pt idx="50">
                  <c:v>16.10.21</c:v>
                </c:pt>
                <c:pt idx="51">
                  <c:v>17.10.21</c:v>
                </c:pt>
                <c:pt idx="52">
                  <c:v>18.10.21</c:v>
                </c:pt>
                <c:pt idx="53">
                  <c:v>19.10.21</c:v>
                </c:pt>
                <c:pt idx="54">
                  <c:v>20.10.21</c:v>
                </c:pt>
                <c:pt idx="55">
                  <c:v>21.10.21</c:v>
                </c:pt>
                <c:pt idx="56">
                  <c:v>22.10.21</c:v>
                </c:pt>
                <c:pt idx="57">
                  <c:v>23.10.21</c:v>
                </c:pt>
                <c:pt idx="58">
                  <c:v>24.10.21</c:v>
                </c:pt>
                <c:pt idx="59">
                  <c:v>25.10.21</c:v>
                </c:pt>
                <c:pt idx="60">
                  <c:v>26.10.21</c:v>
                </c:pt>
                <c:pt idx="61">
                  <c:v>27.10.21</c:v>
                </c:pt>
                <c:pt idx="62">
                  <c:v>28.10.21</c:v>
                </c:pt>
                <c:pt idx="63">
                  <c:v>29.10.21</c:v>
                </c:pt>
                <c:pt idx="64">
                  <c:v>30.10.21</c:v>
                </c:pt>
                <c:pt idx="65">
                  <c:v>31.10.21</c:v>
                </c:pt>
                <c:pt idx="66">
                  <c:v>01.11.21</c:v>
                </c:pt>
                <c:pt idx="67">
                  <c:v>02.11.21</c:v>
                </c:pt>
                <c:pt idx="68">
                  <c:v>03.11.21</c:v>
                </c:pt>
                <c:pt idx="69">
                  <c:v>04.11.21</c:v>
                </c:pt>
                <c:pt idx="70">
                  <c:v>05.11.21</c:v>
                </c:pt>
                <c:pt idx="71">
                  <c:v>06.11.21</c:v>
                </c:pt>
                <c:pt idx="72">
                  <c:v>07.11.21</c:v>
                </c:pt>
                <c:pt idx="73">
                  <c:v>08.11.21</c:v>
                </c:pt>
                <c:pt idx="74">
                  <c:v>09.11.21</c:v>
                </c:pt>
                <c:pt idx="75">
                  <c:v>10.11.21</c:v>
                </c:pt>
                <c:pt idx="76">
                  <c:v>11.11.21</c:v>
                </c:pt>
                <c:pt idx="77">
                  <c:v>12.11.21</c:v>
                </c:pt>
                <c:pt idx="78">
                  <c:v>13.11.21</c:v>
                </c:pt>
                <c:pt idx="79">
                  <c:v>14.11.21</c:v>
                </c:pt>
                <c:pt idx="80">
                  <c:v>15.11.21</c:v>
                </c:pt>
                <c:pt idx="81">
                  <c:v>16.11.21</c:v>
                </c:pt>
                <c:pt idx="82">
                  <c:v>17.11.21</c:v>
                </c:pt>
                <c:pt idx="83">
                  <c:v>18.11.21</c:v>
                </c:pt>
                <c:pt idx="84">
                  <c:v>19.11.21</c:v>
                </c:pt>
                <c:pt idx="85">
                  <c:v>20.11.21</c:v>
                </c:pt>
                <c:pt idx="86">
                  <c:v>21.11.21</c:v>
                </c:pt>
                <c:pt idx="87">
                  <c:v>22.11.21</c:v>
                </c:pt>
                <c:pt idx="88">
                  <c:v>23.11.21</c:v>
                </c:pt>
                <c:pt idx="89">
                  <c:v>24.11.21</c:v>
                </c:pt>
                <c:pt idx="90">
                  <c:v>25.11.21</c:v>
                </c:pt>
                <c:pt idx="91">
                  <c:v>26.11.21</c:v>
                </c:pt>
                <c:pt idx="92">
                  <c:v>27.11.21</c:v>
                </c:pt>
                <c:pt idx="93">
                  <c:v>28.11.21</c:v>
                </c:pt>
                <c:pt idx="94">
                  <c:v>29.11.21</c:v>
                </c:pt>
                <c:pt idx="95">
                  <c:v>30.11.21</c:v>
                </c:pt>
                <c:pt idx="96">
                  <c:v>01.12.21</c:v>
                </c:pt>
                <c:pt idx="97">
                  <c:v>02.12.21</c:v>
                </c:pt>
                <c:pt idx="98">
                  <c:v>03.12.21</c:v>
                </c:pt>
                <c:pt idx="99">
                  <c:v>04.12.21</c:v>
                </c:pt>
                <c:pt idx="100">
                  <c:v>05.12.21</c:v>
                </c:pt>
                <c:pt idx="101">
                  <c:v>06.12.21</c:v>
                </c:pt>
                <c:pt idx="102">
                  <c:v>07.12.21</c:v>
                </c:pt>
                <c:pt idx="103">
                  <c:v>08.12.21</c:v>
                </c:pt>
                <c:pt idx="104">
                  <c:v>09.12.21</c:v>
                </c:pt>
                <c:pt idx="105">
                  <c:v>10.12.21</c:v>
                </c:pt>
                <c:pt idx="106">
                  <c:v>11.12.21</c:v>
                </c:pt>
                <c:pt idx="107">
                  <c:v>12.12.21</c:v>
                </c:pt>
                <c:pt idx="108">
                  <c:v>13.12.21</c:v>
                </c:pt>
                <c:pt idx="109">
                  <c:v>14.12.21</c:v>
                </c:pt>
                <c:pt idx="110">
                  <c:v>15.12.21</c:v>
                </c:pt>
                <c:pt idx="111">
                  <c:v>16.12.21</c:v>
                </c:pt>
                <c:pt idx="112">
                  <c:v>17.12.21</c:v>
                </c:pt>
                <c:pt idx="113">
                  <c:v>18.12.21</c:v>
                </c:pt>
                <c:pt idx="114">
                  <c:v>19.12.21</c:v>
                </c:pt>
                <c:pt idx="115">
                  <c:v>20.12.21</c:v>
                </c:pt>
                <c:pt idx="116">
                  <c:v>21.12.21</c:v>
                </c:pt>
                <c:pt idx="117">
                  <c:v>22.12.21</c:v>
                </c:pt>
                <c:pt idx="118">
                  <c:v>23.12.21</c:v>
                </c:pt>
                <c:pt idx="119">
                  <c:v>24.12.21</c:v>
                </c:pt>
                <c:pt idx="120">
                  <c:v>25.12.21</c:v>
                </c:pt>
                <c:pt idx="121">
                  <c:v>26.12.21</c:v>
                </c:pt>
                <c:pt idx="122">
                  <c:v>27.12.21</c:v>
                </c:pt>
                <c:pt idx="123">
                  <c:v>28.12.21</c:v>
                </c:pt>
                <c:pt idx="124">
                  <c:v>29.12.21</c:v>
                </c:pt>
                <c:pt idx="125">
                  <c:v>30.12.21</c:v>
                </c:pt>
                <c:pt idx="126">
                  <c:v>31.12.21</c:v>
                </c:pt>
                <c:pt idx="127">
                  <c:v>01.01.22</c:v>
                </c:pt>
                <c:pt idx="128">
                  <c:v>02.01.22</c:v>
                </c:pt>
                <c:pt idx="129">
                  <c:v>03.01.22</c:v>
                </c:pt>
                <c:pt idx="130">
                  <c:v>04.01.22</c:v>
                </c:pt>
                <c:pt idx="131">
                  <c:v>05.01.22</c:v>
                </c:pt>
                <c:pt idx="132">
                  <c:v>06.01.22</c:v>
                </c:pt>
                <c:pt idx="133">
                  <c:v>07.01.22</c:v>
                </c:pt>
                <c:pt idx="134">
                  <c:v>08.01.22</c:v>
                </c:pt>
                <c:pt idx="135">
                  <c:v>09.01.22</c:v>
                </c:pt>
                <c:pt idx="136">
                  <c:v>10.01.22</c:v>
                </c:pt>
                <c:pt idx="137">
                  <c:v>11.01.22</c:v>
                </c:pt>
                <c:pt idx="138">
                  <c:v>12.01.22</c:v>
                </c:pt>
                <c:pt idx="139">
                  <c:v>13.01.22</c:v>
                </c:pt>
                <c:pt idx="140">
                  <c:v>14.01.22</c:v>
                </c:pt>
                <c:pt idx="141">
                  <c:v>15.01.22</c:v>
                </c:pt>
                <c:pt idx="142">
                  <c:v>16.01.22</c:v>
                </c:pt>
                <c:pt idx="143">
                  <c:v>17.01.22</c:v>
                </c:pt>
                <c:pt idx="144">
                  <c:v>18.01.22</c:v>
                </c:pt>
                <c:pt idx="145">
                  <c:v>19.01.22</c:v>
                </c:pt>
                <c:pt idx="146">
                  <c:v>20.01.22</c:v>
                </c:pt>
                <c:pt idx="147">
                  <c:v>21.01.22</c:v>
                </c:pt>
                <c:pt idx="148">
                  <c:v>22.01.22</c:v>
                </c:pt>
                <c:pt idx="149">
                  <c:v>23.01.22</c:v>
                </c:pt>
                <c:pt idx="150">
                  <c:v>24.01.22</c:v>
                </c:pt>
                <c:pt idx="151">
                  <c:v>25.01.22</c:v>
                </c:pt>
                <c:pt idx="152">
                  <c:v>26.01.22</c:v>
                </c:pt>
                <c:pt idx="153">
                  <c:v>27.01.22</c:v>
                </c:pt>
                <c:pt idx="154">
                  <c:v>28.01.22</c:v>
                </c:pt>
                <c:pt idx="155">
                  <c:v>29.01.22</c:v>
                </c:pt>
                <c:pt idx="156">
                  <c:v>30.01.22</c:v>
                </c:pt>
                <c:pt idx="157">
                  <c:v>31.01.22</c:v>
                </c:pt>
                <c:pt idx="158">
                  <c:v>01.02.22</c:v>
                </c:pt>
                <c:pt idx="159">
                  <c:v>02.02.22</c:v>
                </c:pt>
                <c:pt idx="160">
                  <c:v>03.02.22</c:v>
                </c:pt>
                <c:pt idx="161">
                  <c:v>04.02.22</c:v>
                </c:pt>
                <c:pt idx="162">
                  <c:v>05.02.22</c:v>
                </c:pt>
                <c:pt idx="163">
                  <c:v>06.02.22</c:v>
                </c:pt>
                <c:pt idx="164">
                  <c:v>07.02.22</c:v>
                </c:pt>
                <c:pt idx="165">
                  <c:v>08.02.22</c:v>
                </c:pt>
                <c:pt idx="166">
                  <c:v>09.02.22</c:v>
                </c:pt>
                <c:pt idx="167">
                  <c:v>10.02.22</c:v>
                </c:pt>
                <c:pt idx="168">
                  <c:v>11.02.22</c:v>
                </c:pt>
                <c:pt idx="169">
                  <c:v>12.02.22</c:v>
                </c:pt>
                <c:pt idx="170">
                  <c:v>13.02.22</c:v>
                </c:pt>
                <c:pt idx="171">
                  <c:v>14.02.22</c:v>
                </c:pt>
                <c:pt idx="172">
                  <c:v>15.02.22</c:v>
                </c:pt>
                <c:pt idx="173">
                  <c:v>16.02.22</c:v>
                </c:pt>
                <c:pt idx="174">
                  <c:v>17.02.22</c:v>
                </c:pt>
                <c:pt idx="175">
                  <c:v>18.02.22</c:v>
                </c:pt>
                <c:pt idx="176">
                  <c:v>19.02.22</c:v>
                </c:pt>
                <c:pt idx="177">
                  <c:v>20.02.22</c:v>
                </c:pt>
                <c:pt idx="178">
                  <c:v>21.02.22</c:v>
                </c:pt>
                <c:pt idx="179">
                  <c:v>22.02.22</c:v>
                </c:pt>
                <c:pt idx="180">
                  <c:v>23.02.22</c:v>
                </c:pt>
                <c:pt idx="181">
                  <c:v>24.02.22</c:v>
                </c:pt>
                <c:pt idx="182">
                  <c:v>25.02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4</c:v>
                </c:pt>
                <c:pt idx="5">
                  <c:v>4</c:v>
                </c:pt>
                <c:pt idx="6">
                  <c:v>1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0</c:v>
                </c:pt>
                <c:pt idx="11">
                  <c:v>2</c:v>
                </c:pt>
                <c:pt idx="12">
                  <c:v>0</c:v>
                </c:pt>
                <c:pt idx="13">
                  <c:v>0</c:v>
                </c:pt>
                <c:pt idx="14">
                  <c:v>3</c:v>
                </c:pt>
                <c:pt idx="15">
                  <c:v>3</c:v>
                </c:pt>
                <c:pt idx="16">
                  <c:v>0</c:v>
                </c:pt>
                <c:pt idx="17">
                  <c:v>4</c:v>
                </c:pt>
                <c:pt idx="18">
                  <c:v>2</c:v>
                </c:pt>
                <c:pt idx="19">
                  <c:v>0</c:v>
                </c:pt>
                <c:pt idx="20">
                  <c:v>1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0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3</c:v>
                </c:pt>
                <c:pt idx="29">
                  <c:v>0</c:v>
                </c:pt>
                <c:pt idx="30">
                  <c:v>2</c:v>
                </c:pt>
                <c:pt idx="31">
                  <c:v>6</c:v>
                </c:pt>
                <c:pt idx="32">
                  <c:v>4</c:v>
                </c:pt>
                <c:pt idx="33">
                  <c:v>3</c:v>
                </c:pt>
                <c:pt idx="34">
                  <c:v>9</c:v>
                </c:pt>
                <c:pt idx="35">
                  <c:v>2</c:v>
                </c:pt>
                <c:pt idx="36">
                  <c:v>5</c:v>
                </c:pt>
                <c:pt idx="37">
                  <c:v>1</c:v>
                </c:pt>
                <c:pt idx="38">
                  <c:v>0</c:v>
                </c:pt>
                <c:pt idx="39">
                  <c:v>2</c:v>
                </c:pt>
                <c:pt idx="40">
                  <c:v>5</c:v>
                </c:pt>
                <c:pt idx="41">
                  <c:v>6</c:v>
                </c:pt>
                <c:pt idx="42">
                  <c:v>6</c:v>
                </c:pt>
                <c:pt idx="43">
                  <c:v>1</c:v>
                </c:pt>
                <c:pt idx="44">
                  <c:v>1</c:v>
                </c:pt>
                <c:pt idx="45">
                  <c:v>3</c:v>
                </c:pt>
                <c:pt idx="46">
                  <c:v>10</c:v>
                </c:pt>
                <c:pt idx="47">
                  <c:v>7</c:v>
                </c:pt>
                <c:pt idx="48">
                  <c:v>7</c:v>
                </c:pt>
                <c:pt idx="49">
                  <c:v>6</c:v>
                </c:pt>
                <c:pt idx="50">
                  <c:v>5</c:v>
                </c:pt>
                <c:pt idx="51">
                  <c:v>8</c:v>
                </c:pt>
                <c:pt idx="52">
                  <c:v>17</c:v>
                </c:pt>
                <c:pt idx="53">
                  <c:v>16</c:v>
                </c:pt>
                <c:pt idx="54">
                  <c:v>13</c:v>
                </c:pt>
                <c:pt idx="55">
                  <c:v>13</c:v>
                </c:pt>
                <c:pt idx="56">
                  <c:v>16</c:v>
                </c:pt>
                <c:pt idx="57">
                  <c:v>13</c:v>
                </c:pt>
                <c:pt idx="58">
                  <c:v>12</c:v>
                </c:pt>
                <c:pt idx="59">
                  <c:v>28</c:v>
                </c:pt>
                <c:pt idx="60">
                  <c:v>20</c:v>
                </c:pt>
                <c:pt idx="61">
                  <c:v>23</c:v>
                </c:pt>
                <c:pt idx="62">
                  <c:v>22</c:v>
                </c:pt>
                <c:pt idx="63">
                  <c:v>36</c:v>
                </c:pt>
                <c:pt idx="64">
                  <c:v>21</c:v>
                </c:pt>
                <c:pt idx="65">
                  <c:v>18</c:v>
                </c:pt>
                <c:pt idx="66">
                  <c:v>55</c:v>
                </c:pt>
                <c:pt idx="67">
                  <c:v>38</c:v>
                </c:pt>
                <c:pt idx="68">
                  <c:v>38</c:v>
                </c:pt>
                <c:pt idx="69">
                  <c:v>27</c:v>
                </c:pt>
                <c:pt idx="70">
                  <c:v>40</c:v>
                </c:pt>
                <c:pt idx="71">
                  <c:v>20</c:v>
                </c:pt>
                <c:pt idx="72">
                  <c:v>18</c:v>
                </c:pt>
                <c:pt idx="73">
                  <c:v>52</c:v>
                </c:pt>
                <c:pt idx="74">
                  <c:v>46</c:v>
                </c:pt>
                <c:pt idx="75">
                  <c:v>48</c:v>
                </c:pt>
                <c:pt idx="76">
                  <c:v>50</c:v>
                </c:pt>
                <c:pt idx="77">
                  <c:v>42</c:v>
                </c:pt>
                <c:pt idx="78">
                  <c:v>49</c:v>
                </c:pt>
                <c:pt idx="79">
                  <c:v>22</c:v>
                </c:pt>
                <c:pt idx="80">
                  <c:v>63</c:v>
                </c:pt>
                <c:pt idx="81">
                  <c:v>57</c:v>
                </c:pt>
                <c:pt idx="82">
                  <c:v>44</c:v>
                </c:pt>
                <c:pt idx="83">
                  <c:v>54</c:v>
                </c:pt>
                <c:pt idx="84">
                  <c:v>78</c:v>
                </c:pt>
                <c:pt idx="85">
                  <c:v>45</c:v>
                </c:pt>
                <c:pt idx="86">
                  <c:v>31</c:v>
                </c:pt>
                <c:pt idx="87">
                  <c:v>60</c:v>
                </c:pt>
                <c:pt idx="88">
                  <c:v>71</c:v>
                </c:pt>
                <c:pt idx="89">
                  <c:v>41</c:v>
                </c:pt>
                <c:pt idx="90">
                  <c:v>66</c:v>
                </c:pt>
                <c:pt idx="91">
                  <c:v>54</c:v>
                </c:pt>
                <c:pt idx="92">
                  <c:v>34</c:v>
                </c:pt>
                <c:pt idx="93">
                  <c:v>40</c:v>
                </c:pt>
                <c:pt idx="94">
                  <c:v>57</c:v>
                </c:pt>
                <c:pt idx="95">
                  <c:v>46</c:v>
                </c:pt>
                <c:pt idx="96">
                  <c:v>55</c:v>
                </c:pt>
                <c:pt idx="97">
                  <c:v>39</c:v>
                </c:pt>
                <c:pt idx="98">
                  <c:v>50</c:v>
                </c:pt>
                <c:pt idx="99">
                  <c:v>24</c:v>
                </c:pt>
                <c:pt idx="100">
                  <c:v>15</c:v>
                </c:pt>
                <c:pt idx="101">
                  <c:v>45</c:v>
                </c:pt>
                <c:pt idx="102">
                  <c:v>40</c:v>
                </c:pt>
                <c:pt idx="103">
                  <c:v>30</c:v>
                </c:pt>
                <c:pt idx="104">
                  <c:v>30</c:v>
                </c:pt>
                <c:pt idx="105">
                  <c:v>33</c:v>
                </c:pt>
                <c:pt idx="106">
                  <c:v>19</c:v>
                </c:pt>
                <c:pt idx="107">
                  <c:v>11</c:v>
                </c:pt>
                <c:pt idx="108">
                  <c:v>29</c:v>
                </c:pt>
                <c:pt idx="109">
                  <c:v>25</c:v>
                </c:pt>
                <c:pt idx="110">
                  <c:v>23</c:v>
                </c:pt>
                <c:pt idx="111">
                  <c:v>16</c:v>
                </c:pt>
                <c:pt idx="112">
                  <c:v>22</c:v>
                </c:pt>
                <c:pt idx="113">
                  <c:v>20</c:v>
                </c:pt>
                <c:pt idx="114">
                  <c:v>15</c:v>
                </c:pt>
                <c:pt idx="115">
                  <c:v>27</c:v>
                </c:pt>
                <c:pt idx="116">
                  <c:v>27</c:v>
                </c:pt>
                <c:pt idx="117">
                  <c:v>21</c:v>
                </c:pt>
                <c:pt idx="118">
                  <c:v>22</c:v>
                </c:pt>
                <c:pt idx="119">
                  <c:v>4</c:v>
                </c:pt>
                <c:pt idx="120">
                  <c:v>11</c:v>
                </c:pt>
                <c:pt idx="121">
                  <c:v>8</c:v>
                </c:pt>
                <c:pt idx="122">
                  <c:v>24</c:v>
                </c:pt>
                <c:pt idx="123">
                  <c:v>32</c:v>
                </c:pt>
                <c:pt idx="124">
                  <c:v>23</c:v>
                </c:pt>
                <c:pt idx="125">
                  <c:v>20</c:v>
                </c:pt>
                <c:pt idx="126">
                  <c:v>18</c:v>
                </c:pt>
                <c:pt idx="127">
                  <c:v>7</c:v>
                </c:pt>
                <c:pt idx="128">
                  <c:v>24</c:v>
                </c:pt>
                <c:pt idx="129">
                  <c:v>33</c:v>
                </c:pt>
                <c:pt idx="130">
                  <c:v>26</c:v>
                </c:pt>
                <c:pt idx="131">
                  <c:v>20</c:v>
                </c:pt>
                <c:pt idx="132">
                  <c:v>25</c:v>
                </c:pt>
                <c:pt idx="133">
                  <c:v>18</c:v>
                </c:pt>
                <c:pt idx="134">
                  <c:v>17</c:v>
                </c:pt>
                <c:pt idx="135">
                  <c:v>13</c:v>
                </c:pt>
                <c:pt idx="136">
                  <c:v>32</c:v>
                </c:pt>
                <c:pt idx="137">
                  <c:v>46</c:v>
                </c:pt>
                <c:pt idx="138">
                  <c:v>70</c:v>
                </c:pt>
                <c:pt idx="139">
                  <c:v>39</c:v>
                </c:pt>
                <c:pt idx="140">
                  <c:v>45</c:v>
                </c:pt>
                <c:pt idx="141">
                  <c:v>31</c:v>
                </c:pt>
                <c:pt idx="142">
                  <c:v>40</c:v>
                </c:pt>
                <c:pt idx="143">
                  <c:v>108</c:v>
                </c:pt>
                <c:pt idx="144">
                  <c:v>86</c:v>
                </c:pt>
                <c:pt idx="145">
                  <c:v>115</c:v>
                </c:pt>
                <c:pt idx="146">
                  <c:v>106</c:v>
                </c:pt>
                <c:pt idx="147">
                  <c:v>90</c:v>
                </c:pt>
                <c:pt idx="148">
                  <c:v>57</c:v>
                </c:pt>
                <c:pt idx="149">
                  <c:v>70</c:v>
                </c:pt>
                <c:pt idx="150">
                  <c:v>180</c:v>
                </c:pt>
                <c:pt idx="151">
                  <c:v>153</c:v>
                </c:pt>
                <c:pt idx="152">
                  <c:v>166</c:v>
                </c:pt>
                <c:pt idx="153">
                  <c:v>122</c:v>
                </c:pt>
                <c:pt idx="154">
                  <c:v>151</c:v>
                </c:pt>
                <c:pt idx="155">
                  <c:v>56</c:v>
                </c:pt>
                <c:pt idx="156">
                  <c:v>99</c:v>
                </c:pt>
                <c:pt idx="157">
                  <c:v>166</c:v>
                </c:pt>
                <c:pt idx="158">
                  <c:v>195</c:v>
                </c:pt>
                <c:pt idx="159">
                  <c:v>149</c:v>
                </c:pt>
                <c:pt idx="160">
                  <c:v>126</c:v>
                </c:pt>
                <c:pt idx="161">
                  <c:v>112</c:v>
                </c:pt>
                <c:pt idx="162">
                  <c:v>73</c:v>
                </c:pt>
                <c:pt idx="163">
                  <c:v>49</c:v>
                </c:pt>
                <c:pt idx="164">
                  <c:v>124</c:v>
                </c:pt>
                <c:pt idx="165">
                  <c:v>112</c:v>
                </c:pt>
                <c:pt idx="166">
                  <c:v>90</c:v>
                </c:pt>
                <c:pt idx="167">
                  <c:v>89</c:v>
                </c:pt>
                <c:pt idx="168">
                  <c:v>89</c:v>
                </c:pt>
                <c:pt idx="169">
                  <c:v>41</c:v>
                </c:pt>
                <c:pt idx="170">
                  <c:v>39</c:v>
                </c:pt>
                <c:pt idx="171">
                  <c:v>127</c:v>
                </c:pt>
                <c:pt idx="172">
                  <c:v>80</c:v>
                </c:pt>
                <c:pt idx="173">
                  <c:v>77</c:v>
                </c:pt>
                <c:pt idx="174">
                  <c:v>59</c:v>
                </c:pt>
                <c:pt idx="175">
                  <c:v>63</c:v>
                </c:pt>
                <c:pt idx="176">
                  <c:v>35</c:v>
                </c:pt>
                <c:pt idx="177">
                  <c:v>31</c:v>
                </c:pt>
                <c:pt idx="178">
                  <c:v>68</c:v>
                </c:pt>
                <c:pt idx="179">
                  <c:v>51</c:v>
                </c:pt>
                <c:pt idx="180">
                  <c:v>49</c:v>
                </c:pt>
                <c:pt idx="181">
                  <c:v>46</c:v>
                </c:pt>
                <c:pt idx="182">
                  <c:v>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3.5507512293320191E-3"/>
                  <c:y val="-7.92633711202343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244118952507763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7.08.21</c:v>
                </c:pt>
                <c:pt idx="1">
                  <c:v>28.08.21</c:v>
                </c:pt>
                <c:pt idx="2">
                  <c:v>29.08.21</c:v>
                </c:pt>
                <c:pt idx="3">
                  <c:v>30.08.21</c:v>
                </c:pt>
                <c:pt idx="4">
                  <c:v>31.08.21</c:v>
                </c:pt>
                <c:pt idx="5">
                  <c:v>01.09.21</c:v>
                </c:pt>
                <c:pt idx="6">
                  <c:v>02.09.21</c:v>
                </c:pt>
                <c:pt idx="7">
                  <c:v>03.09.21</c:v>
                </c:pt>
                <c:pt idx="8">
                  <c:v>04.09.21</c:v>
                </c:pt>
                <c:pt idx="9">
                  <c:v>05.09.21</c:v>
                </c:pt>
                <c:pt idx="10">
                  <c:v>06.09.21</c:v>
                </c:pt>
                <c:pt idx="11">
                  <c:v>07.09.21</c:v>
                </c:pt>
                <c:pt idx="12">
                  <c:v>08.09.21</c:v>
                </c:pt>
                <c:pt idx="13">
                  <c:v>09.09.21</c:v>
                </c:pt>
                <c:pt idx="14">
                  <c:v>10.09.21</c:v>
                </c:pt>
                <c:pt idx="15">
                  <c:v>11.09.21</c:v>
                </c:pt>
                <c:pt idx="16">
                  <c:v>12.09.21</c:v>
                </c:pt>
                <c:pt idx="17">
                  <c:v>13.09.21</c:v>
                </c:pt>
                <c:pt idx="18">
                  <c:v>14.09.21</c:v>
                </c:pt>
                <c:pt idx="19">
                  <c:v>15.09.21</c:v>
                </c:pt>
                <c:pt idx="20">
                  <c:v>16.09.21</c:v>
                </c:pt>
                <c:pt idx="21">
                  <c:v>17.09.21</c:v>
                </c:pt>
                <c:pt idx="22">
                  <c:v>18.09.21</c:v>
                </c:pt>
                <c:pt idx="23">
                  <c:v>19.09.21</c:v>
                </c:pt>
                <c:pt idx="24">
                  <c:v>20.09.21</c:v>
                </c:pt>
                <c:pt idx="25">
                  <c:v>21.09.21</c:v>
                </c:pt>
                <c:pt idx="26">
                  <c:v>22.09.21</c:v>
                </c:pt>
                <c:pt idx="27">
                  <c:v>23.09.21</c:v>
                </c:pt>
                <c:pt idx="28">
                  <c:v>24.09.21</c:v>
                </c:pt>
                <c:pt idx="29">
                  <c:v>25.09.21</c:v>
                </c:pt>
                <c:pt idx="30">
                  <c:v>26.09.21</c:v>
                </c:pt>
                <c:pt idx="31">
                  <c:v>27.09.21</c:v>
                </c:pt>
                <c:pt idx="32">
                  <c:v>28.09.21</c:v>
                </c:pt>
                <c:pt idx="33">
                  <c:v>29.09.21</c:v>
                </c:pt>
                <c:pt idx="34">
                  <c:v>30.09.21</c:v>
                </c:pt>
                <c:pt idx="35">
                  <c:v>01.10.21</c:v>
                </c:pt>
                <c:pt idx="36">
                  <c:v>02.10.21</c:v>
                </c:pt>
                <c:pt idx="37">
                  <c:v>03.10.21</c:v>
                </c:pt>
                <c:pt idx="38">
                  <c:v>04.10.21</c:v>
                </c:pt>
                <c:pt idx="39">
                  <c:v>05.10.21</c:v>
                </c:pt>
                <c:pt idx="40">
                  <c:v>06.10.21</c:v>
                </c:pt>
                <c:pt idx="41">
                  <c:v>07.10.21</c:v>
                </c:pt>
                <c:pt idx="42">
                  <c:v>08.10.21</c:v>
                </c:pt>
                <c:pt idx="43">
                  <c:v>09.10.21</c:v>
                </c:pt>
                <c:pt idx="44">
                  <c:v>10.10.21</c:v>
                </c:pt>
                <c:pt idx="45">
                  <c:v>11.10.21</c:v>
                </c:pt>
                <c:pt idx="46">
                  <c:v>12.10.21</c:v>
                </c:pt>
                <c:pt idx="47">
                  <c:v>13.10.21</c:v>
                </c:pt>
                <c:pt idx="48">
                  <c:v>14.10.21</c:v>
                </c:pt>
                <c:pt idx="49">
                  <c:v>15.10.21</c:v>
                </c:pt>
                <c:pt idx="50">
                  <c:v>16.10.21</c:v>
                </c:pt>
                <c:pt idx="51">
                  <c:v>17.10.21</c:v>
                </c:pt>
                <c:pt idx="52">
                  <c:v>18.10.21</c:v>
                </c:pt>
                <c:pt idx="53">
                  <c:v>19.10.21</c:v>
                </c:pt>
                <c:pt idx="54">
                  <c:v>20.10.21</c:v>
                </c:pt>
                <c:pt idx="55">
                  <c:v>21.10.21</c:v>
                </c:pt>
                <c:pt idx="56">
                  <c:v>22.10.21</c:v>
                </c:pt>
                <c:pt idx="57">
                  <c:v>23.10.21</c:v>
                </c:pt>
                <c:pt idx="58">
                  <c:v>24.10.21</c:v>
                </c:pt>
                <c:pt idx="59">
                  <c:v>25.10.21</c:v>
                </c:pt>
                <c:pt idx="60">
                  <c:v>26.10.21</c:v>
                </c:pt>
                <c:pt idx="61">
                  <c:v>27.10.21</c:v>
                </c:pt>
                <c:pt idx="62">
                  <c:v>28.10.21</c:v>
                </c:pt>
                <c:pt idx="63">
                  <c:v>29.10.21</c:v>
                </c:pt>
                <c:pt idx="64">
                  <c:v>30.10.21</c:v>
                </c:pt>
                <c:pt idx="65">
                  <c:v>31.10.21</c:v>
                </c:pt>
                <c:pt idx="66">
                  <c:v>01.11.21</c:v>
                </c:pt>
                <c:pt idx="67">
                  <c:v>02.11.21</c:v>
                </c:pt>
                <c:pt idx="68">
                  <c:v>03.11.21</c:v>
                </c:pt>
                <c:pt idx="69">
                  <c:v>04.11.21</c:v>
                </c:pt>
                <c:pt idx="70">
                  <c:v>05.11.21</c:v>
                </c:pt>
                <c:pt idx="71">
                  <c:v>06.11.21</c:v>
                </c:pt>
                <c:pt idx="72">
                  <c:v>07.11.21</c:v>
                </c:pt>
                <c:pt idx="73">
                  <c:v>08.11.21</c:v>
                </c:pt>
                <c:pt idx="74">
                  <c:v>09.11.21</c:v>
                </c:pt>
                <c:pt idx="75">
                  <c:v>10.11.21</c:v>
                </c:pt>
                <c:pt idx="76">
                  <c:v>11.11.21</c:v>
                </c:pt>
                <c:pt idx="77">
                  <c:v>12.11.21</c:v>
                </c:pt>
                <c:pt idx="78">
                  <c:v>13.11.21</c:v>
                </c:pt>
                <c:pt idx="79">
                  <c:v>14.11.21</c:v>
                </c:pt>
                <c:pt idx="80">
                  <c:v>15.11.21</c:v>
                </c:pt>
                <c:pt idx="81">
                  <c:v>16.11.21</c:v>
                </c:pt>
                <c:pt idx="82">
                  <c:v>17.11.21</c:v>
                </c:pt>
                <c:pt idx="83">
                  <c:v>18.11.21</c:v>
                </c:pt>
                <c:pt idx="84">
                  <c:v>19.11.21</c:v>
                </c:pt>
                <c:pt idx="85">
                  <c:v>20.11.21</c:v>
                </c:pt>
                <c:pt idx="86">
                  <c:v>21.11.21</c:v>
                </c:pt>
                <c:pt idx="87">
                  <c:v>22.11.21</c:v>
                </c:pt>
                <c:pt idx="88">
                  <c:v>23.11.21</c:v>
                </c:pt>
                <c:pt idx="89">
                  <c:v>24.11.21</c:v>
                </c:pt>
                <c:pt idx="90">
                  <c:v>25.11.21</c:v>
                </c:pt>
                <c:pt idx="91">
                  <c:v>26.11.21</c:v>
                </c:pt>
                <c:pt idx="92">
                  <c:v>27.11.21</c:v>
                </c:pt>
                <c:pt idx="93">
                  <c:v>28.11.21</c:v>
                </c:pt>
                <c:pt idx="94">
                  <c:v>29.11.21</c:v>
                </c:pt>
                <c:pt idx="95">
                  <c:v>30.11.21</c:v>
                </c:pt>
                <c:pt idx="96">
                  <c:v>01.12.21</c:v>
                </c:pt>
                <c:pt idx="97">
                  <c:v>02.12.21</c:v>
                </c:pt>
                <c:pt idx="98">
                  <c:v>03.12.21</c:v>
                </c:pt>
                <c:pt idx="99">
                  <c:v>04.12.21</c:v>
                </c:pt>
                <c:pt idx="100">
                  <c:v>05.12.21</c:v>
                </c:pt>
                <c:pt idx="101">
                  <c:v>06.12.21</c:v>
                </c:pt>
                <c:pt idx="102">
                  <c:v>07.12.21</c:v>
                </c:pt>
                <c:pt idx="103">
                  <c:v>08.12.21</c:v>
                </c:pt>
                <c:pt idx="104">
                  <c:v>09.12.21</c:v>
                </c:pt>
                <c:pt idx="105">
                  <c:v>10.12.21</c:v>
                </c:pt>
                <c:pt idx="106">
                  <c:v>11.12.21</c:v>
                </c:pt>
                <c:pt idx="107">
                  <c:v>12.12.21</c:v>
                </c:pt>
                <c:pt idx="108">
                  <c:v>13.12.21</c:v>
                </c:pt>
                <c:pt idx="109">
                  <c:v>14.12.21</c:v>
                </c:pt>
                <c:pt idx="110">
                  <c:v>15.12.21</c:v>
                </c:pt>
                <c:pt idx="111">
                  <c:v>16.12.21</c:v>
                </c:pt>
                <c:pt idx="112">
                  <c:v>17.12.21</c:v>
                </c:pt>
                <c:pt idx="113">
                  <c:v>18.12.21</c:v>
                </c:pt>
                <c:pt idx="114">
                  <c:v>19.12.21</c:v>
                </c:pt>
                <c:pt idx="115">
                  <c:v>20.12.21</c:v>
                </c:pt>
                <c:pt idx="116">
                  <c:v>21.12.21</c:v>
                </c:pt>
                <c:pt idx="117">
                  <c:v>22.12.21</c:v>
                </c:pt>
                <c:pt idx="118">
                  <c:v>23.12.21</c:v>
                </c:pt>
                <c:pt idx="119">
                  <c:v>24.12.21</c:v>
                </c:pt>
                <c:pt idx="120">
                  <c:v>25.12.21</c:v>
                </c:pt>
                <c:pt idx="121">
                  <c:v>26.12.21</c:v>
                </c:pt>
                <c:pt idx="122">
                  <c:v>27.12.21</c:v>
                </c:pt>
                <c:pt idx="123">
                  <c:v>28.12.21</c:v>
                </c:pt>
                <c:pt idx="124">
                  <c:v>29.12.21</c:v>
                </c:pt>
                <c:pt idx="125">
                  <c:v>30.12.21</c:v>
                </c:pt>
                <c:pt idx="126">
                  <c:v>31.12.21</c:v>
                </c:pt>
                <c:pt idx="127">
                  <c:v>01.01.22</c:v>
                </c:pt>
                <c:pt idx="128">
                  <c:v>02.01.22</c:v>
                </c:pt>
                <c:pt idx="129">
                  <c:v>03.01.22</c:v>
                </c:pt>
                <c:pt idx="130">
                  <c:v>04.01.22</c:v>
                </c:pt>
                <c:pt idx="131">
                  <c:v>05.01.22</c:v>
                </c:pt>
                <c:pt idx="132">
                  <c:v>06.01.22</c:v>
                </c:pt>
                <c:pt idx="133">
                  <c:v>07.01.22</c:v>
                </c:pt>
                <c:pt idx="134">
                  <c:v>08.01.22</c:v>
                </c:pt>
                <c:pt idx="135">
                  <c:v>09.01.22</c:v>
                </c:pt>
                <c:pt idx="136">
                  <c:v>10.01.22</c:v>
                </c:pt>
                <c:pt idx="137">
                  <c:v>11.01.22</c:v>
                </c:pt>
                <c:pt idx="138">
                  <c:v>12.01.22</c:v>
                </c:pt>
                <c:pt idx="139">
                  <c:v>13.01.22</c:v>
                </c:pt>
                <c:pt idx="140">
                  <c:v>14.01.22</c:v>
                </c:pt>
                <c:pt idx="141">
                  <c:v>15.01.22</c:v>
                </c:pt>
                <c:pt idx="142">
                  <c:v>16.01.22</c:v>
                </c:pt>
                <c:pt idx="143">
                  <c:v>17.01.22</c:v>
                </c:pt>
                <c:pt idx="144">
                  <c:v>18.01.22</c:v>
                </c:pt>
                <c:pt idx="145">
                  <c:v>19.01.22</c:v>
                </c:pt>
                <c:pt idx="146">
                  <c:v>20.01.22</c:v>
                </c:pt>
                <c:pt idx="147">
                  <c:v>21.01.22</c:v>
                </c:pt>
                <c:pt idx="148">
                  <c:v>22.01.22</c:v>
                </c:pt>
                <c:pt idx="149">
                  <c:v>23.01.22</c:v>
                </c:pt>
                <c:pt idx="150">
                  <c:v>24.01.22</c:v>
                </c:pt>
                <c:pt idx="151">
                  <c:v>25.01.22</c:v>
                </c:pt>
                <c:pt idx="152">
                  <c:v>26.01.22</c:v>
                </c:pt>
                <c:pt idx="153">
                  <c:v>27.01.22</c:v>
                </c:pt>
                <c:pt idx="154">
                  <c:v>28.01.22</c:v>
                </c:pt>
                <c:pt idx="155">
                  <c:v>29.01.22</c:v>
                </c:pt>
                <c:pt idx="156">
                  <c:v>30.01.22</c:v>
                </c:pt>
                <c:pt idx="157">
                  <c:v>31.01.22</c:v>
                </c:pt>
                <c:pt idx="158">
                  <c:v>01.02.22</c:v>
                </c:pt>
                <c:pt idx="159">
                  <c:v>02.02.22</c:v>
                </c:pt>
                <c:pt idx="160">
                  <c:v>03.02.22</c:v>
                </c:pt>
                <c:pt idx="161">
                  <c:v>04.02.22</c:v>
                </c:pt>
                <c:pt idx="162">
                  <c:v>05.02.22</c:v>
                </c:pt>
                <c:pt idx="163">
                  <c:v>06.02.22</c:v>
                </c:pt>
                <c:pt idx="164">
                  <c:v>07.02.22</c:v>
                </c:pt>
                <c:pt idx="165">
                  <c:v>08.02.22</c:v>
                </c:pt>
                <c:pt idx="166">
                  <c:v>09.02.22</c:v>
                </c:pt>
                <c:pt idx="167">
                  <c:v>10.02.22</c:v>
                </c:pt>
                <c:pt idx="168">
                  <c:v>11.02.22</c:v>
                </c:pt>
                <c:pt idx="169">
                  <c:v>12.02.22</c:v>
                </c:pt>
                <c:pt idx="170">
                  <c:v>13.02.22</c:v>
                </c:pt>
                <c:pt idx="171">
                  <c:v>14.02.22</c:v>
                </c:pt>
                <c:pt idx="172">
                  <c:v>15.02.22</c:v>
                </c:pt>
                <c:pt idx="173">
                  <c:v>16.02.22</c:v>
                </c:pt>
                <c:pt idx="174">
                  <c:v>17.02.22</c:v>
                </c:pt>
                <c:pt idx="175">
                  <c:v>18.02.22</c:v>
                </c:pt>
                <c:pt idx="176">
                  <c:v>19.02.22</c:v>
                </c:pt>
                <c:pt idx="177">
                  <c:v>20.02.22</c:v>
                </c:pt>
                <c:pt idx="178">
                  <c:v>21.02.22</c:v>
                </c:pt>
                <c:pt idx="179">
                  <c:v>22.02.22</c:v>
                </c:pt>
                <c:pt idx="180">
                  <c:v>23.02.22</c:v>
                </c:pt>
                <c:pt idx="181">
                  <c:v>24.02.22</c:v>
                </c:pt>
                <c:pt idx="182">
                  <c:v>25.02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5</c:v>
                </c:pt>
                <c:pt idx="7">
                  <c:v>6</c:v>
                </c:pt>
                <c:pt idx="8">
                  <c:v>1</c:v>
                </c:pt>
                <c:pt idx="9">
                  <c:v>0</c:v>
                </c:pt>
                <c:pt idx="10">
                  <c:v>2</c:v>
                </c:pt>
                <c:pt idx="11">
                  <c:v>6</c:v>
                </c:pt>
                <c:pt idx="12">
                  <c:v>1</c:v>
                </c:pt>
                <c:pt idx="13">
                  <c:v>4</c:v>
                </c:pt>
                <c:pt idx="14">
                  <c:v>0</c:v>
                </c:pt>
                <c:pt idx="15">
                  <c:v>1</c:v>
                </c:pt>
                <c:pt idx="16">
                  <c:v>2</c:v>
                </c:pt>
                <c:pt idx="17">
                  <c:v>3</c:v>
                </c:pt>
                <c:pt idx="18">
                  <c:v>4</c:v>
                </c:pt>
                <c:pt idx="19">
                  <c:v>3</c:v>
                </c:pt>
                <c:pt idx="20">
                  <c:v>7</c:v>
                </c:pt>
                <c:pt idx="21">
                  <c:v>5</c:v>
                </c:pt>
                <c:pt idx="22">
                  <c:v>2</c:v>
                </c:pt>
                <c:pt idx="23">
                  <c:v>2</c:v>
                </c:pt>
                <c:pt idx="24">
                  <c:v>10</c:v>
                </c:pt>
                <c:pt idx="25">
                  <c:v>7</c:v>
                </c:pt>
                <c:pt idx="26">
                  <c:v>6</c:v>
                </c:pt>
                <c:pt idx="27">
                  <c:v>5</c:v>
                </c:pt>
                <c:pt idx="28">
                  <c:v>7</c:v>
                </c:pt>
                <c:pt idx="29">
                  <c:v>6</c:v>
                </c:pt>
                <c:pt idx="30">
                  <c:v>6</c:v>
                </c:pt>
                <c:pt idx="31">
                  <c:v>5</c:v>
                </c:pt>
                <c:pt idx="32">
                  <c:v>7</c:v>
                </c:pt>
                <c:pt idx="33">
                  <c:v>12</c:v>
                </c:pt>
                <c:pt idx="34">
                  <c:v>15</c:v>
                </c:pt>
                <c:pt idx="35">
                  <c:v>7</c:v>
                </c:pt>
                <c:pt idx="36">
                  <c:v>5</c:v>
                </c:pt>
                <c:pt idx="37">
                  <c:v>8</c:v>
                </c:pt>
                <c:pt idx="38">
                  <c:v>10</c:v>
                </c:pt>
                <c:pt idx="39">
                  <c:v>13</c:v>
                </c:pt>
                <c:pt idx="40">
                  <c:v>9</c:v>
                </c:pt>
                <c:pt idx="41">
                  <c:v>8</c:v>
                </c:pt>
                <c:pt idx="42">
                  <c:v>9</c:v>
                </c:pt>
                <c:pt idx="43">
                  <c:v>5</c:v>
                </c:pt>
                <c:pt idx="44">
                  <c:v>4</c:v>
                </c:pt>
                <c:pt idx="45">
                  <c:v>17</c:v>
                </c:pt>
                <c:pt idx="46">
                  <c:v>17</c:v>
                </c:pt>
                <c:pt idx="47">
                  <c:v>20</c:v>
                </c:pt>
                <c:pt idx="48">
                  <c:v>19</c:v>
                </c:pt>
                <c:pt idx="49">
                  <c:v>17</c:v>
                </c:pt>
                <c:pt idx="50">
                  <c:v>10</c:v>
                </c:pt>
                <c:pt idx="51">
                  <c:v>10</c:v>
                </c:pt>
                <c:pt idx="52">
                  <c:v>32</c:v>
                </c:pt>
                <c:pt idx="53">
                  <c:v>25</c:v>
                </c:pt>
                <c:pt idx="54">
                  <c:v>24</c:v>
                </c:pt>
                <c:pt idx="55">
                  <c:v>49</c:v>
                </c:pt>
                <c:pt idx="56">
                  <c:v>38</c:v>
                </c:pt>
                <c:pt idx="57">
                  <c:v>31</c:v>
                </c:pt>
                <c:pt idx="58">
                  <c:v>11</c:v>
                </c:pt>
                <c:pt idx="59">
                  <c:v>58</c:v>
                </c:pt>
                <c:pt idx="60">
                  <c:v>63</c:v>
                </c:pt>
                <c:pt idx="61">
                  <c:v>71</c:v>
                </c:pt>
                <c:pt idx="62">
                  <c:v>32</c:v>
                </c:pt>
                <c:pt idx="63">
                  <c:v>76</c:v>
                </c:pt>
                <c:pt idx="64">
                  <c:v>56</c:v>
                </c:pt>
                <c:pt idx="65">
                  <c:v>37</c:v>
                </c:pt>
                <c:pt idx="66">
                  <c:v>103</c:v>
                </c:pt>
                <c:pt idx="67">
                  <c:v>100</c:v>
                </c:pt>
                <c:pt idx="68">
                  <c:v>107</c:v>
                </c:pt>
                <c:pt idx="69">
                  <c:v>96</c:v>
                </c:pt>
                <c:pt idx="70">
                  <c:v>107</c:v>
                </c:pt>
                <c:pt idx="71">
                  <c:v>78</c:v>
                </c:pt>
                <c:pt idx="72">
                  <c:v>25</c:v>
                </c:pt>
                <c:pt idx="73">
                  <c:v>120</c:v>
                </c:pt>
                <c:pt idx="74">
                  <c:v>133</c:v>
                </c:pt>
                <c:pt idx="75">
                  <c:v>164</c:v>
                </c:pt>
                <c:pt idx="76">
                  <c:v>91</c:v>
                </c:pt>
                <c:pt idx="77">
                  <c:v>150</c:v>
                </c:pt>
                <c:pt idx="78">
                  <c:v>86</c:v>
                </c:pt>
                <c:pt idx="79">
                  <c:v>52</c:v>
                </c:pt>
                <c:pt idx="80">
                  <c:v>148</c:v>
                </c:pt>
                <c:pt idx="81">
                  <c:v>214</c:v>
                </c:pt>
                <c:pt idx="82">
                  <c:v>106</c:v>
                </c:pt>
                <c:pt idx="83">
                  <c:v>152</c:v>
                </c:pt>
                <c:pt idx="84">
                  <c:v>214</c:v>
                </c:pt>
                <c:pt idx="85">
                  <c:v>145</c:v>
                </c:pt>
                <c:pt idx="86">
                  <c:v>78</c:v>
                </c:pt>
                <c:pt idx="87">
                  <c:v>181</c:v>
                </c:pt>
                <c:pt idx="88">
                  <c:v>239</c:v>
                </c:pt>
                <c:pt idx="89">
                  <c:v>129</c:v>
                </c:pt>
                <c:pt idx="90">
                  <c:v>197</c:v>
                </c:pt>
                <c:pt idx="91">
                  <c:v>177</c:v>
                </c:pt>
                <c:pt idx="92">
                  <c:v>99</c:v>
                </c:pt>
                <c:pt idx="93">
                  <c:v>74</c:v>
                </c:pt>
                <c:pt idx="94">
                  <c:v>187</c:v>
                </c:pt>
                <c:pt idx="95">
                  <c:v>149</c:v>
                </c:pt>
                <c:pt idx="96">
                  <c:v>155</c:v>
                </c:pt>
                <c:pt idx="97">
                  <c:v>134</c:v>
                </c:pt>
                <c:pt idx="98">
                  <c:v>127</c:v>
                </c:pt>
                <c:pt idx="99">
                  <c:v>79</c:v>
                </c:pt>
                <c:pt idx="100">
                  <c:v>59</c:v>
                </c:pt>
                <c:pt idx="101">
                  <c:v>150</c:v>
                </c:pt>
                <c:pt idx="102">
                  <c:v>143</c:v>
                </c:pt>
                <c:pt idx="103">
                  <c:v>108</c:v>
                </c:pt>
                <c:pt idx="104">
                  <c:v>118</c:v>
                </c:pt>
                <c:pt idx="105">
                  <c:v>104</c:v>
                </c:pt>
                <c:pt idx="106">
                  <c:v>70</c:v>
                </c:pt>
                <c:pt idx="107">
                  <c:v>50</c:v>
                </c:pt>
                <c:pt idx="108">
                  <c:v>95</c:v>
                </c:pt>
                <c:pt idx="109">
                  <c:v>113</c:v>
                </c:pt>
                <c:pt idx="110">
                  <c:v>77</c:v>
                </c:pt>
                <c:pt idx="111">
                  <c:v>60</c:v>
                </c:pt>
                <c:pt idx="112">
                  <c:v>71</c:v>
                </c:pt>
                <c:pt idx="113">
                  <c:v>45</c:v>
                </c:pt>
                <c:pt idx="114">
                  <c:v>29</c:v>
                </c:pt>
                <c:pt idx="115">
                  <c:v>82</c:v>
                </c:pt>
                <c:pt idx="116">
                  <c:v>74</c:v>
                </c:pt>
                <c:pt idx="117">
                  <c:v>50</c:v>
                </c:pt>
                <c:pt idx="118">
                  <c:v>56</c:v>
                </c:pt>
                <c:pt idx="119">
                  <c:v>17</c:v>
                </c:pt>
                <c:pt idx="120">
                  <c:v>18</c:v>
                </c:pt>
                <c:pt idx="121">
                  <c:v>16</c:v>
                </c:pt>
                <c:pt idx="122">
                  <c:v>71</c:v>
                </c:pt>
                <c:pt idx="123">
                  <c:v>84</c:v>
                </c:pt>
                <c:pt idx="124">
                  <c:v>50</c:v>
                </c:pt>
                <c:pt idx="125">
                  <c:v>46</c:v>
                </c:pt>
                <c:pt idx="126">
                  <c:v>43</c:v>
                </c:pt>
                <c:pt idx="127">
                  <c:v>10</c:v>
                </c:pt>
                <c:pt idx="128">
                  <c:v>33</c:v>
                </c:pt>
                <c:pt idx="129">
                  <c:v>80</c:v>
                </c:pt>
                <c:pt idx="130">
                  <c:v>66</c:v>
                </c:pt>
                <c:pt idx="131">
                  <c:v>44</c:v>
                </c:pt>
                <c:pt idx="132">
                  <c:v>49</c:v>
                </c:pt>
                <c:pt idx="133">
                  <c:v>56</c:v>
                </c:pt>
                <c:pt idx="134">
                  <c:v>32</c:v>
                </c:pt>
                <c:pt idx="135">
                  <c:v>22</c:v>
                </c:pt>
                <c:pt idx="136">
                  <c:v>58</c:v>
                </c:pt>
                <c:pt idx="137">
                  <c:v>88</c:v>
                </c:pt>
                <c:pt idx="138">
                  <c:v>81</c:v>
                </c:pt>
                <c:pt idx="139">
                  <c:v>76</c:v>
                </c:pt>
                <c:pt idx="140">
                  <c:v>78</c:v>
                </c:pt>
                <c:pt idx="141">
                  <c:v>74</c:v>
                </c:pt>
                <c:pt idx="142">
                  <c:v>45</c:v>
                </c:pt>
                <c:pt idx="143">
                  <c:v>180</c:v>
                </c:pt>
                <c:pt idx="144">
                  <c:v>200</c:v>
                </c:pt>
                <c:pt idx="145">
                  <c:v>187</c:v>
                </c:pt>
                <c:pt idx="146">
                  <c:v>205</c:v>
                </c:pt>
                <c:pt idx="147">
                  <c:v>252</c:v>
                </c:pt>
                <c:pt idx="148">
                  <c:v>130</c:v>
                </c:pt>
                <c:pt idx="149">
                  <c:v>112</c:v>
                </c:pt>
                <c:pt idx="150">
                  <c:v>328</c:v>
                </c:pt>
                <c:pt idx="151">
                  <c:v>331</c:v>
                </c:pt>
                <c:pt idx="152">
                  <c:v>409</c:v>
                </c:pt>
                <c:pt idx="153">
                  <c:v>351</c:v>
                </c:pt>
                <c:pt idx="154">
                  <c:v>430</c:v>
                </c:pt>
                <c:pt idx="155">
                  <c:v>148</c:v>
                </c:pt>
                <c:pt idx="156">
                  <c:v>207</c:v>
                </c:pt>
                <c:pt idx="157">
                  <c:v>465</c:v>
                </c:pt>
                <c:pt idx="158">
                  <c:v>490</c:v>
                </c:pt>
                <c:pt idx="159">
                  <c:v>397</c:v>
                </c:pt>
                <c:pt idx="160">
                  <c:v>365</c:v>
                </c:pt>
                <c:pt idx="161">
                  <c:v>291</c:v>
                </c:pt>
                <c:pt idx="162">
                  <c:v>229</c:v>
                </c:pt>
                <c:pt idx="163">
                  <c:v>120</c:v>
                </c:pt>
                <c:pt idx="164">
                  <c:v>423</c:v>
                </c:pt>
                <c:pt idx="165">
                  <c:v>382</c:v>
                </c:pt>
                <c:pt idx="166">
                  <c:v>302</c:v>
                </c:pt>
                <c:pt idx="167">
                  <c:v>262</c:v>
                </c:pt>
                <c:pt idx="168">
                  <c:v>234</c:v>
                </c:pt>
                <c:pt idx="169">
                  <c:v>146</c:v>
                </c:pt>
                <c:pt idx="170">
                  <c:v>109</c:v>
                </c:pt>
                <c:pt idx="171">
                  <c:v>283</c:v>
                </c:pt>
                <c:pt idx="172">
                  <c:v>297</c:v>
                </c:pt>
                <c:pt idx="173">
                  <c:v>224</c:v>
                </c:pt>
                <c:pt idx="174">
                  <c:v>199</c:v>
                </c:pt>
                <c:pt idx="175">
                  <c:v>171</c:v>
                </c:pt>
                <c:pt idx="176">
                  <c:v>90</c:v>
                </c:pt>
                <c:pt idx="177">
                  <c:v>63</c:v>
                </c:pt>
                <c:pt idx="178">
                  <c:v>221</c:v>
                </c:pt>
                <c:pt idx="179">
                  <c:v>163</c:v>
                </c:pt>
                <c:pt idx="180">
                  <c:v>110</c:v>
                </c:pt>
                <c:pt idx="181">
                  <c:v>119</c:v>
                </c:pt>
                <c:pt idx="182">
                  <c:v>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1.865013478276434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7.08.21</c:v>
                </c:pt>
                <c:pt idx="1">
                  <c:v>28.08.21</c:v>
                </c:pt>
                <c:pt idx="2">
                  <c:v>29.08.21</c:v>
                </c:pt>
                <c:pt idx="3">
                  <c:v>30.08.21</c:v>
                </c:pt>
                <c:pt idx="4">
                  <c:v>31.08.21</c:v>
                </c:pt>
                <c:pt idx="5">
                  <c:v>01.09.21</c:v>
                </c:pt>
                <c:pt idx="6">
                  <c:v>02.09.21</c:v>
                </c:pt>
                <c:pt idx="7">
                  <c:v>03.09.21</c:v>
                </c:pt>
                <c:pt idx="8">
                  <c:v>04.09.21</c:v>
                </c:pt>
                <c:pt idx="9">
                  <c:v>05.09.21</c:v>
                </c:pt>
                <c:pt idx="10">
                  <c:v>06.09.21</c:v>
                </c:pt>
                <c:pt idx="11">
                  <c:v>07.09.21</c:v>
                </c:pt>
                <c:pt idx="12">
                  <c:v>08.09.21</c:v>
                </c:pt>
                <c:pt idx="13">
                  <c:v>09.09.21</c:v>
                </c:pt>
                <c:pt idx="14">
                  <c:v>10.09.21</c:v>
                </c:pt>
                <c:pt idx="15">
                  <c:v>11.09.21</c:v>
                </c:pt>
                <c:pt idx="16">
                  <c:v>12.09.21</c:v>
                </c:pt>
                <c:pt idx="17">
                  <c:v>13.09.21</c:v>
                </c:pt>
                <c:pt idx="18">
                  <c:v>14.09.21</c:v>
                </c:pt>
                <c:pt idx="19">
                  <c:v>15.09.21</c:v>
                </c:pt>
                <c:pt idx="20">
                  <c:v>16.09.21</c:v>
                </c:pt>
                <c:pt idx="21">
                  <c:v>17.09.21</c:v>
                </c:pt>
                <c:pt idx="22">
                  <c:v>18.09.21</c:v>
                </c:pt>
                <c:pt idx="23">
                  <c:v>19.09.21</c:v>
                </c:pt>
                <c:pt idx="24">
                  <c:v>20.09.21</c:v>
                </c:pt>
                <c:pt idx="25">
                  <c:v>21.09.21</c:v>
                </c:pt>
                <c:pt idx="26">
                  <c:v>22.09.21</c:v>
                </c:pt>
                <c:pt idx="27">
                  <c:v>23.09.21</c:v>
                </c:pt>
                <c:pt idx="28">
                  <c:v>24.09.21</c:v>
                </c:pt>
                <c:pt idx="29">
                  <c:v>25.09.21</c:v>
                </c:pt>
                <c:pt idx="30">
                  <c:v>26.09.21</c:v>
                </c:pt>
                <c:pt idx="31">
                  <c:v>27.09.21</c:v>
                </c:pt>
                <c:pt idx="32">
                  <c:v>28.09.21</c:v>
                </c:pt>
                <c:pt idx="33">
                  <c:v>29.09.21</c:v>
                </c:pt>
                <c:pt idx="34">
                  <c:v>30.09.21</c:v>
                </c:pt>
                <c:pt idx="35">
                  <c:v>01.10.21</c:v>
                </c:pt>
                <c:pt idx="36">
                  <c:v>02.10.21</c:v>
                </c:pt>
                <c:pt idx="37">
                  <c:v>03.10.21</c:v>
                </c:pt>
                <c:pt idx="38">
                  <c:v>04.10.21</c:v>
                </c:pt>
                <c:pt idx="39">
                  <c:v>05.10.21</c:v>
                </c:pt>
                <c:pt idx="40">
                  <c:v>06.10.21</c:v>
                </c:pt>
                <c:pt idx="41">
                  <c:v>07.10.21</c:v>
                </c:pt>
                <c:pt idx="42">
                  <c:v>08.10.21</c:v>
                </c:pt>
                <c:pt idx="43">
                  <c:v>09.10.21</c:v>
                </c:pt>
                <c:pt idx="44">
                  <c:v>10.10.21</c:v>
                </c:pt>
                <c:pt idx="45">
                  <c:v>11.10.21</c:v>
                </c:pt>
                <c:pt idx="46">
                  <c:v>12.10.21</c:v>
                </c:pt>
                <c:pt idx="47">
                  <c:v>13.10.21</c:v>
                </c:pt>
                <c:pt idx="48">
                  <c:v>14.10.21</c:v>
                </c:pt>
                <c:pt idx="49">
                  <c:v>15.10.21</c:v>
                </c:pt>
                <c:pt idx="50">
                  <c:v>16.10.21</c:v>
                </c:pt>
                <c:pt idx="51">
                  <c:v>17.10.21</c:v>
                </c:pt>
                <c:pt idx="52">
                  <c:v>18.10.21</c:v>
                </c:pt>
                <c:pt idx="53">
                  <c:v>19.10.21</c:v>
                </c:pt>
                <c:pt idx="54">
                  <c:v>20.10.21</c:v>
                </c:pt>
                <c:pt idx="55">
                  <c:v>21.10.21</c:v>
                </c:pt>
                <c:pt idx="56">
                  <c:v>22.10.21</c:v>
                </c:pt>
                <c:pt idx="57">
                  <c:v>23.10.21</c:v>
                </c:pt>
                <c:pt idx="58">
                  <c:v>24.10.21</c:v>
                </c:pt>
                <c:pt idx="59">
                  <c:v>25.10.21</c:v>
                </c:pt>
                <c:pt idx="60">
                  <c:v>26.10.21</c:v>
                </c:pt>
                <c:pt idx="61">
                  <c:v>27.10.21</c:v>
                </c:pt>
                <c:pt idx="62">
                  <c:v>28.10.21</c:v>
                </c:pt>
                <c:pt idx="63">
                  <c:v>29.10.21</c:v>
                </c:pt>
                <c:pt idx="64">
                  <c:v>30.10.21</c:v>
                </c:pt>
                <c:pt idx="65">
                  <c:v>31.10.21</c:v>
                </c:pt>
                <c:pt idx="66">
                  <c:v>01.11.21</c:v>
                </c:pt>
                <c:pt idx="67">
                  <c:v>02.11.21</c:v>
                </c:pt>
                <c:pt idx="68">
                  <c:v>03.11.21</c:v>
                </c:pt>
                <c:pt idx="69">
                  <c:v>04.11.21</c:v>
                </c:pt>
                <c:pt idx="70">
                  <c:v>05.11.21</c:v>
                </c:pt>
                <c:pt idx="71">
                  <c:v>06.11.21</c:v>
                </c:pt>
                <c:pt idx="72">
                  <c:v>07.11.21</c:v>
                </c:pt>
                <c:pt idx="73">
                  <c:v>08.11.21</c:v>
                </c:pt>
                <c:pt idx="74">
                  <c:v>09.11.21</c:v>
                </c:pt>
                <c:pt idx="75">
                  <c:v>10.11.21</c:v>
                </c:pt>
                <c:pt idx="76">
                  <c:v>11.11.21</c:v>
                </c:pt>
                <c:pt idx="77">
                  <c:v>12.11.21</c:v>
                </c:pt>
                <c:pt idx="78">
                  <c:v>13.11.21</c:v>
                </c:pt>
                <c:pt idx="79">
                  <c:v>14.11.21</c:v>
                </c:pt>
                <c:pt idx="80">
                  <c:v>15.11.21</c:v>
                </c:pt>
                <c:pt idx="81">
                  <c:v>16.11.21</c:v>
                </c:pt>
                <c:pt idx="82">
                  <c:v>17.11.21</c:v>
                </c:pt>
                <c:pt idx="83">
                  <c:v>18.11.21</c:v>
                </c:pt>
                <c:pt idx="84">
                  <c:v>19.11.21</c:v>
                </c:pt>
                <c:pt idx="85">
                  <c:v>20.11.21</c:v>
                </c:pt>
                <c:pt idx="86">
                  <c:v>21.11.21</c:v>
                </c:pt>
                <c:pt idx="87">
                  <c:v>22.11.21</c:v>
                </c:pt>
                <c:pt idx="88">
                  <c:v>23.11.21</c:v>
                </c:pt>
                <c:pt idx="89">
                  <c:v>24.11.21</c:v>
                </c:pt>
                <c:pt idx="90">
                  <c:v>25.11.21</c:v>
                </c:pt>
                <c:pt idx="91">
                  <c:v>26.11.21</c:v>
                </c:pt>
                <c:pt idx="92">
                  <c:v>27.11.21</c:v>
                </c:pt>
                <c:pt idx="93">
                  <c:v>28.11.21</c:v>
                </c:pt>
                <c:pt idx="94">
                  <c:v>29.11.21</c:v>
                </c:pt>
                <c:pt idx="95">
                  <c:v>30.11.21</c:v>
                </c:pt>
                <c:pt idx="96">
                  <c:v>01.12.21</c:v>
                </c:pt>
                <c:pt idx="97">
                  <c:v>02.12.21</c:v>
                </c:pt>
                <c:pt idx="98">
                  <c:v>03.12.21</c:v>
                </c:pt>
                <c:pt idx="99">
                  <c:v>04.12.21</c:v>
                </c:pt>
                <c:pt idx="100">
                  <c:v>05.12.21</c:v>
                </c:pt>
                <c:pt idx="101">
                  <c:v>06.12.21</c:v>
                </c:pt>
                <c:pt idx="102">
                  <c:v>07.12.21</c:v>
                </c:pt>
                <c:pt idx="103">
                  <c:v>08.12.21</c:v>
                </c:pt>
                <c:pt idx="104">
                  <c:v>09.12.21</c:v>
                </c:pt>
                <c:pt idx="105">
                  <c:v>10.12.21</c:v>
                </c:pt>
                <c:pt idx="106">
                  <c:v>11.12.21</c:v>
                </c:pt>
                <c:pt idx="107">
                  <c:v>12.12.21</c:v>
                </c:pt>
                <c:pt idx="108">
                  <c:v>13.12.21</c:v>
                </c:pt>
                <c:pt idx="109">
                  <c:v>14.12.21</c:v>
                </c:pt>
                <c:pt idx="110">
                  <c:v>15.12.21</c:v>
                </c:pt>
                <c:pt idx="111">
                  <c:v>16.12.21</c:v>
                </c:pt>
                <c:pt idx="112">
                  <c:v>17.12.21</c:v>
                </c:pt>
                <c:pt idx="113">
                  <c:v>18.12.21</c:v>
                </c:pt>
                <c:pt idx="114">
                  <c:v>19.12.21</c:v>
                </c:pt>
                <c:pt idx="115">
                  <c:v>20.12.21</c:v>
                </c:pt>
                <c:pt idx="116">
                  <c:v>21.12.21</c:v>
                </c:pt>
                <c:pt idx="117">
                  <c:v>22.12.21</c:v>
                </c:pt>
                <c:pt idx="118">
                  <c:v>23.12.21</c:v>
                </c:pt>
                <c:pt idx="119">
                  <c:v>24.12.21</c:v>
                </c:pt>
                <c:pt idx="120">
                  <c:v>25.12.21</c:v>
                </c:pt>
                <c:pt idx="121">
                  <c:v>26.12.21</c:v>
                </c:pt>
                <c:pt idx="122">
                  <c:v>27.12.21</c:v>
                </c:pt>
                <c:pt idx="123">
                  <c:v>28.12.21</c:v>
                </c:pt>
                <c:pt idx="124">
                  <c:v>29.12.21</c:v>
                </c:pt>
                <c:pt idx="125">
                  <c:v>30.12.21</c:v>
                </c:pt>
                <c:pt idx="126">
                  <c:v>31.12.21</c:v>
                </c:pt>
                <c:pt idx="127">
                  <c:v>01.01.22</c:v>
                </c:pt>
                <c:pt idx="128">
                  <c:v>02.01.22</c:v>
                </c:pt>
                <c:pt idx="129">
                  <c:v>03.01.22</c:v>
                </c:pt>
                <c:pt idx="130">
                  <c:v>04.01.22</c:v>
                </c:pt>
                <c:pt idx="131">
                  <c:v>05.01.22</c:v>
                </c:pt>
                <c:pt idx="132">
                  <c:v>06.01.22</c:v>
                </c:pt>
                <c:pt idx="133">
                  <c:v>07.01.22</c:v>
                </c:pt>
                <c:pt idx="134">
                  <c:v>08.01.22</c:v>
                </c:pt>
                <c:pt idx="135">
                  <c:v>09.01.22</c:v>
                </c:pt>
                <c:pt idx="136">
                  <c:v>10.01.22</c:v>
                </c:pt>
                <c:pt idx="137">
                  <c:v>11.01.22</c:v>
                </c:pt>
                <c:pt idx="138">
                  <c:v>12.01.22</c:v>
                </c:pt>
                <c:pt idx="139">
                  <c:v>13.01.22</c:v>
                </c:pt>
                <c:pt idx="140">
                  <c:v>14.01.22</c:v>
                </c:pt>
                <c:pt idx="141">
                  <c:v>15.01.22</c:v>
                </c:pt>
                <c:pt idx="142">
                  <c:v>16.01.22</c:v>
                </c:pt>
                <c:pt idx="143">
                  <c:v>17.01.22</c:v>
                </c:pt>
                <c:pt idx="144">
                  <c:v>18.01.22</c:v>
                </c:pt>
                <c:pt idx="145">
                  <c:v>19.01.22</c:v>
                </c:pt>
                <c:pt idx="146">
                  <c:v>20.01.22</c:v>
                </c:pt>
                <c:pt idx="147">
                  <c:v>21.01.22</c:v>
                </c:pt>
                <c:pt idx="148">
                  <c:v>22.01.22</c:v>
                </c:pt>
                <c:pt idx="149">
                  <c:v>23.01.22</c:v>
                </c:pt>
                <c:pt idx="150">
                  <c:v>24.01.22</c:v>
                </c:pt>
                <c:pt idx="151">
                  <c:v>25.01.22</c:v>
                </c:pt>
                <c:pt idx="152">
                  <c:v>26.01.22</c:v>
                </c:pt>
                <c:pt idx="153">
                  <c:v>27.01.22</c:v>
                </c:pt>
                <c:pt idx="154">
                  <c:v>28.01.22</c:v>
                </c:pt>
                <c:pt idx="155">
                  <c:v>29.01.22</c:v>
                </c:pt>
                <c:pt idx="156">
                  <c:v>30.01.22</c:v>
                </c:pt>
                <c:pt idx="157">
                  <c:v>31.01.22</c:v>
                </c:pt>
                <c:pt idx="158">
                  <c:v>01.02.22</c:v>
                </c:pt>
                <c:pt idx="159">
                  <c:v>02.02.22</c:v>
                </c:pt>
                <c:pt idx="160">
                  <c:v>03.02.22</c:v>
                </c:pt>
                <c:pt idx="161">
                  <c:v>04.02.22</c:v>
                </c:pt>
                <c:pt idx="162">
                  <c:v>05.02.22</c:v>
                </c:pt>
                <c:pt idx="163">
                  <c:v>06.02.22</c:v>
                </c:pt>
                <c:pt idx="164">
                  <c:v>07.02.22</c:v>
                </c:pt>
                <c:pt idx="165">
                  <c:v>08.02.22</c:v>
                </c:pt>
                <c:pt idx="166">
                  <c:v>09.02.22</c:v>
                </c:pt>
                <c:pt idx="167">
                  <c:v>10.02.22</c:v>
                </c:pt>
                <c:pt idx="168">
                  <c:v>11.02.22</c:v>
                </c:pt>
                <c:pt idx="169">
                  <c:v>12.02.22</c:v>
                </c:pt>
                <c:pt idx="170">
                  <c:v>13.02.22</c:v>
                </c:pt>
                <c:pt idx="171">
                  <c:v>14.02.22</c:v>
                </c:pt>
                <c:pt idx="172">
                  <c:v>15.02.22</c:v>
                </c:pt>
                <c:pt idx="173">
                  <c:v>16.02.22</c:v>
                </c:pt>
                <c:pt idx="174">
                  <c:v>17.02.22</c:v>
                </c:pt>
                <c:pt idx="175">
                  <c:v>18.02.22</c:v>
                </c:pt>
                <c:pt idx="176">
                  <c:v>19.02.22</c:v>
                </c:pt>
                <c:pt idx="177">
                  <c:v>20.02.22</c:v>
                </c:pt>
                <c:pt idx="178">
                  <c:v>21.02.22</c:v>
                </c:pt>
                <c:pt idx="179">
                  <c:v>22.02.22</c:v>
                </c:pt>
                <c:pt idx="180">
                  <c:v>23.02.22</c:v>
                </c:pt>
                <c:pt idx="181">
                  <c:v>24.02.22</c:v>
                </c:pt>
                <c:pt idx="182">
                  <c:v>25.02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4</c:v>
                </c:pt>
                <c:pt idx="7">
                  <c:v>6</c:v>
                </c:pt>
                <c:pt idx="8">
                  <c:v>5</c:v>
                </c:pt>
                <c:pt idx="9">
                  <c:v>1</c:v>
                </c:pt>
                <c:pt idx="10">
                  <c:v>5</c:v>
                </c:pt>
                <c:pt idx="11">
                  <c:v>4</c:v>
                </c:pt>
                <c:pt idx="12">
                  <c:v>1</c:v>
                </c:pt>
                <c:pt idx="13">
                  <c:v>3</c:v>
                </c:pt>
                <c:pt idx="14">
                  <c:v>2</c:v>
                </c:pt>
                <c:pt idx="15">
                  <c:v>0</c:v>
                </c:pt>
                <c:pt idx="16">
                  <c:v>3</c:v>
                </c:pt>
                <c:pt idx="17">
                  <c:v>2</c:v>
                </c:pt>
                <c:pt idx="18">
                  <c:v>3</c:v>
                </c:pt>
                <c:pt idx="19">
                  <c:v>5</c:v>
                </c:pt>
                <c:pt idx="20">
                  <c:v>7</c:v>
                </c:pt>
                <c:pt idx="21">
                  <c:v>4</c:v>
                </c:pt>
                <c:pt idx="22">
                  <c:v>2</c:v>
                </c:pt>
                <c:pt idx="23">
                  <c:v>5</c:v>
                </c:pt>
                <c:pt idx="24">
                  <c:v>8</c:v>
                </c:pt>
                <c:pt idx="25">
                  <c:v>9</c:v>
                </c:pt>
                <c:pt idx="26">
                  <c:v>8</c:v>
                </c:pt>
                <c:pt idx="27">
                  <c:v>5</c:v>
                </c:pt>
                <c:pt idx="28">
                  <c:v>4</c:v>
                </c:pt>
                <c:pt idx="29">
                  <c:v>4</c:v>
                </c:pt>
                <c:pt idx="30">
                  <c:v>2</c:v>
                </c:pt>
                <c:pt idx="31">
                  <c:v>8</c:v>
                </c:pt>
                <c:pt idx="32">
                  <c:v>6</c:v>
                </c:pt>
                <c:pt idx="33">
                  <c:v>8</c:v>
                </c:pt>
                <c:pt idx="34">
                  <c:v>12</c:v>
                </c:pt>
                <c:pt idx="35">
                  <c:v>8</c:v>
                </c:pt>
                <c:pt idx="36">
                  <c:v>4</c:v>
                </c:pt>
                <c:pt idx="37">
                  <c:v>7</c:v>
                </c:pt>
                <c:pt idx="38">
                  <c:v>9</c:v>
                </c:pt>
                <c:pt idx="39">
                  <c:v>12</c:v>
                </c:pt>
                <c:pt idx="40">
                  <c:v>13</c:v>
                </c:pt>
                <c:pt idx="41">
                  <c:v>15</c:v>
                </c:pt>
                <c:pt idx="42">
                  <c:v>8</c:v>
                </c:pt>
                <c:pt idx="43">
                  <c:v>7</c:v>
                </c:pt>
                <c:pt idx="44">
                  <c:v>5</c:v>
                </c:pt>
                <c:pt idx="45">
                  <c:v>19</c:v>
                </c:pt>
                <c:pt idx="46">
                  <c:v>31</c:v>
                </c:pt>
                <c:pt idx="47">
                  <c:v>18</c:v>
                </c:pt>
                <c:pt idx="48">
                  <c:v>16</c:v>
                </c:pt>
                <c:pt idx="49">
                  <c:v>14</c:v>
                </c:pt>
                <c:pt idx="50">
                  <c:v>9</c:v>
                </c:pt>
                <c:pt idx="51">
                  <c:v>13</c:v>
                </c:pt>
                <c:pt idx="52">
                  <c:v>38</c:v>
                </c:pt>
                <c:pt idx="53">
                  <c:v>54</c:v>
                </c:pt>
                <c:pt idx="54">
                  <c:v>48</c:v>
                </c:pt>
                <c:pt idx="55">
                  <c:v>53</c:v>
                </c:pt>
                <c:pt idx="56">
                  <c:v>42</c:v>
                </c:pt>
                <c:pt idx="57">
                  <c:v>27</c:v>
                </c:pt>
                <c:pt idx="58">
                  <c:v>20</c:v>
                </c:pt>
                <c:pt idx="59">
                  <c:v>76</c:v>
                </c:pt>
                <c:pt idx="60">
                  <c:v>81</c:v>
                </c:pt>
                <c:pt idx="61">
                  <c:v>64</c:v>
                </c:pt>
                <c:pt idx="62">
                  <c:v>38</c:v>
                </c:pt>
                <c:pt idx="63">
                  <c:v>79</c:v>
                </c:pt>
                <c:pt idx="64">
                  <c:v>52</c:v>
                </c:pt>
                <c:pt idx="65">
                  <c:v>40</c:v>
                </c:pt>
                <c:pt idx="66">
                  <c:v>130</c:v>
                </c:pt>
                <c:pt idx="67">
                  <c:v>128</c:v>
                </c:pt>
                <c:pt idx="68">
                  <c:v>102</c:v>
                </c:pt>
                <c:pt idx="69">
                  <c:v>107</c:v>
                </c:pt>
                <c:pt idx="70">
                  <c:v>127</c:v>
                </c:pt>
                <c:pt idx="71">
                  <c:v>53</c:v>
                </c:pt>
                <c:pt idx="72">
                  <c:v>37</c:v>
                </c:pt>
                <c:pt idx="73">
                  <c:v>127</c:v>
                </c:pt>
                <c:pt idx="74">
                  <c:v>138</c:v>
                </c:pt>
                <c:pt idx="75">
                  <c:v>140</c:v>
                </c:pt>
                <c:pt idx="76">
                  <c:v>113</c:v>
                </c:pt>
                <c:pt idx="77">
                  <c:v>158</c:v>
                </c:pt>
                <c:pt idx="78">
                  <c:v>94</c:v>
                </c:pt>
                <c:pt idx="79">
                  <c:v>49</c:v>
                </c:pt>
                <c:pt idx="80">
                  <c:v>156</c:v>
                </c:pt>
                <c:pt idx="81">
                  <c:v>192</c:v>
                </c:pt>
                <c:pt idx="82">
                  <c:v>140</c:v>
                </c:pt>
                <c:pt idx="83">
                  <c:v>157</c:v>
                </c:pt>
                <c:pt idx="84">
                  <c:v>239</c:v>
                </c:pt>
                <c:pt idx="85">
                  <c:v>118</c:v>
                </c:pt>
                <c:pt idx="86">
                  <c:v>88</c:v>
                </c:pt>
                <c:pt idx="87">
                  <c:v>197</c:v>
                </c:pt>
                <c:pt idx="88">
                  <c:v>203</c:v>
                </c:pt>
                <c:pt idx="89">
                  <c:v>170</c:v>
                </c:pt>
                <c:pt idx="90">
                  <c:v>247</c:v>
                </c:pt>
                <c:pt idx="91">
                  <c:v>141</c:v>
                </c:pt>
                <c:pt idx="92">
                  <c:v>107</c:v>
                </c:pt>
                <c:pt idx="93">
                  <c:v>81</c:v>
                </c:pt>
                <c:pt idx="94">
                  <c:v>199</c:v>
                </c:pt>
                <c:pt idx="95">
                  <c:v>178</c:v>
                </c:pt>
                <c:pt idx="96">
                  <c:v>157</c:v>
                </c:pt>
                <c:pt idx="97">
                  <c:v>124</c:v>
                </c:pt>
                <c:pt idx="98">
                  <c:v>152</c:v>
                </c:pt>
                <c:pt idx="99">
                  <c:v>94</c:v>
                </c:pt>
                <c:pt idx="100">
                  <c:v>64</c:v>
                </c:pt>
                <c:pt idx="101">
                  <c:v>187</c:v>
                </c:pt>
                <c:pt idx="102">
                  <c:v>157</c:v>
                </c:pt>
                <c:pt idx="103">
                  <c:v>128</c:v>
                </c:pt>
                <c:pt idx="104">
                  <c:v>107</c:v>
                </c:pt>
                <c:pt idx="105">
                  <c:v>89</c:v>
                </c:pt>
                <c:pt idx="106">
                  <c:v>74</c:v>
                </c:pt>
                <c:pt idx="107">
                  <c:v>59</c:v>
                </c:pt>
                <c:pt idx="108">
                  <c:v>114</c:v>
                </c:pt>
                <c:pt idx="109">
                  <c:v>164</c:v>
                </c:pt>
                <c:pt idx="110">
                  <c:v>89</c:v>
                </c:pt>
                <c:pt idx="111">
                  <c:v>86</c:v>
                </c:pt>
                <c:pt idx="112">
                  <c:v>91</c:v>
                </c:pt>
                <c:pt idx="113">
                  <c:v>58</c:v>
                </c:pt>
                <c:pt idx="114">
                  <c:v>41</c:v>
                </c:pt>
                <c:pt idx="115">
                  <c:v>99</c:v>
                </c:pt>
                <c:pt idx="116">
                  <c:v>90</c:v>
                </c:pt>
                <c:pt idx="117">
                  <c:v>43</c:v>
                </c:pt>
                <c:pt idx="118">
                  <c:v>66</c:v>
                </c:pt>
                <c:pt idx="119">
                  <c:v>20</c:v>
                </c:pt>
                <c:pt idx="120">
                  <c:v>12</c:v>
                </c:pt>
                <c:pt idx="121">
                  <c:v>21</c:v>
                </c:pt>
                <c:pt idx="122">
                  <c:v>67</c:v>
                </c:pt>
                <c:pt idx="123">
                  <c:v>91</c:v>
                </c:pt>
                <c:pt idx="124">
                  <c:v>59</c:v>
                </c:pt>
                <c:pt idx="125">
                  <c:v>59</c:v>
                </c:pt>
                <c:pt idx="126">
                  <c:v>73</c:v>
                </c:pt>
                <c:pt idx="127">
                  <c:v>12</c:v>
                </c:pt>
                <c:pt idx="128">
                  <c:v>21</c:v>
                </c:pt>
                <c:pt idx="129">
                  <c:v>90</c:v>
                </c:pt>
                <c:pt idx="130">
                  <c:v>85</c:v>
                </c:pt>
                <c:pt idx="131">
                  <c:v>68</c:v>
                </c:pt>
                <c:pt idx="132">
                  <c:v>66</c:v>
                </c:pt>
                <c:pt idx="133">
                  <c:v>63</c:v>
                </c:pt>
                <c:pt idx="134">
                  <c:v>30</c:v>
                </c:pt>
                <c:pt idx="135">
                  <c:v>27</c:v>
                </c:pt>
                <c:pt idx="136">
                  <c:v>78</c:v>
                </c:pt>
                <c:pt idx="137">
                  <c:v>105</c:v>
                </c:pt>
                <c:pt idx="138">
                  <c:v>87</c:v>
                </c:pt>
                <c:pt idx="139">
                  <c:v>72</c:v>
                </c:pt>
                <c:pt idx="140">
                  <c:v>90</c:v>
                </c:pt>
                <c:pt idx="141">
                  <c:v>56</c:v>
                </c:pt>
                <c:pt idx="142">
                  <c:v>55</c:v>
                </c:pt>
                <c:pt idx="143">
                  <c:v>180</c:v>
                </c:pt>
                <c:pt idx="144">
                  <c:v>190</c:v>
                </c:pt>
                <c:pt idx="145">
                  <c:v>215</c:v>
                </c:pt>
                <c:pt idx="146">
                  <c:v>217</c:v>
                </c:pt>
                <c:pt idx="147">
                  <c:v>206</c:v>
                </c:pt>
                <c:pt idx="148">
                  <c:v>145</c:v>
                </c:pt>
                <c:pt idx="149">
                  <c:v>111</c:v>
                </c:pt>
                <c:pt idx="150">
                  <c:v>276</c:v>
                </c:pt>
                <c:pt idx="151">
                  <c:v>310</c:v>
                </c:pt>
                <c:pt idx="152">
                  <c:v>387</c:v>
                </c:pt>
                <c:pt idx="153">
                  <c:v>303</c:v>
                </c:pt>
                <c:pt idx="154">
                  <c:v>399</c:v>
                </c:pt>
                <c:pt idx="155">
                  <c:v>149</c:v>
                </c:pt>
                <c:pt idx="156">
                  <c:v>170</c:v>
                </c:pt>
                <c:pt idx="157">
                  <c:v>360</c:v>
                </c:pt>
                <c:pt idx="158">
                  <c:v>471</c:v>
                </c:pt>
                <c:pt idx="159">
                  <c:v>348</c:v>
                </c:pt>
                <c:pt idx="160">
                  <c:v>345</c:v>
                </c:pt>
                <c:pt idx="161">
                  <c:v>291</c:v>
                </c:pt>
                <c:pt idx="162">
                  <c:v>187</c:v>
                </c:pt>
                <c:pt idx="163">
                  <c:v>110</c:v>
                </c:pt>
                <c:pt idx="164">
                  <c:v>414</c:v>
                </c:pt>
                <c:pt idx="165">
                  <c:v>352</c:v>
                </c:pt>
                <c:pt idx="166">
                  <c:v>298</c:v>
                </c:pt>
                <c:pt idx="167">
                  <c:v>245</c:v>
                </c:pt>
                <c:pt idx="168">
                  <c:v>212</c:v>
                </c:pt>
                <c:pt idx="169">
                  <c:v>121</c:v>
                </c:pt>
                <c:pt idx="170">
                  <c:v>84</c:v>
                </c:pt>
                <c:pt idx="171">
                  <c:v>241</c:v>
                </c:pt>
                <c:pt idx="172">
                  <c:v>251</c:v>
                </c:pt>
                <c:pt idx="173">
                  <c:v>173</c:v>
                </c:pt>
                <c:pt idx="174">
                  <c:v>150</c:v>
                </c:pt>
                <c:pt idx="175">
                  <c:v>138</c:v>
                </c:pt>
                <c:pt idx="176">
                  <c:v>76</c:v>
                </c:pt>
                <c:pt idx="177">
                  <c:v>51</c:v>
                </c:pt>
                <c:pt idx="178">
                  <c:v>188</c:v>
                </c:pt>
                <c:pt idx="179">
                  <c:v>142</c:v>
                </c:pt>
                <c:pt idx="180">
                  <c:v>114</c:v>
                </c:pt>
                <c:pt idx="181">
                  <c:v>120</c:v>
                </c:pt>
                <c:pt idx="182">
                  <c:v>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5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8987323987963556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7.08.21</c:v>
                </c:pt>
                <c:pt idx="1">
                  <c:v>28.08.21</c:v>
                </c:pt>
                <c:pt idx="2">
                  <c:v>29.08.21</c:v>
                </c:pt>
                <c:pt idx="3">
                  <c:v>30.08.21</c:v>
                </c:pt>
                <c:pt idx="4">
                  <c:v>31.08.21</c:v>
                </c:pt>
                <c:pt idx="5">
                  <c:v>01.09.21</c:v>
                </c:pt>
                <c:pt idx="6">
                  <c:v>02.09.21</c:v>
                </c:pt>
                <c:pt idx="7">
                  <c:v>03.09.21</c:v>
                </c:pt>
                <c:pt idx="8">
                  <c:v>04.09.21</c:v>
                </c:pt>
                <c:pt idx="9">
                  <c:v>05.09.21</c:v>
                </c:pt>
                <c:pt idx="10">
                  <c:v>06.09.21</c:v>
                </c:pt>
                <c:pt idx="11">
                  <c:v>07.09.21</c:v>
                </c:pt>
                <c:pt idx="12">
                  <c:v>08.09.21</c:v>
                </c:pt>
                <c:pt idx="13">
                  <c:v>09.09.21</c:v>
                </c:pt>
                <c:pt idx="14">
                  <c:v>10.09.21</c:v>
                </c:pt>
                <c:pt idx="15">
                  <c:v>11.09.21</c:v>
                </c:pt>
                <c:pt idx="16">
                  <c:v>12.09.21</c:v>
                </c:pt>
                <c:pt idx="17">
                  <c:v>13.09.21</c:v>
                </c:pt>
                <c:pt idx="18">
                  <c:v>14.09.21</c:v>
                </c:pt>
                <c:pt idx="19">
                  <c:v>15.09.21</c:v>
                </c:pt>
                <c:pt idx="20">
                  <c:v>16.09.21</c:v>
                </c:pt>
                <c:pt idx="21">
                  <c:v>17.09.21</c:v>
                </c:pt>
                <c:pt idx="22">
                  <c:v>18.09.21</c:v>
                </c:pt>
                <c:pt idx="23">
                  <c:v>19.09.21</c:v>
                </c:pt>
                <c:pt idx="24">
                  <c:v>20.09.21</c:v>
                </c:pt>
                <c:pt idx="25">
                  <c:v>21.09.21</c:v>
                </c:pt>
                <c:pt idx="26">
                  <c:v>22.09.21</c:v>
                </c:pt>
                <c:pt idx="27">
                  <c:v>23.09.21</c:v>
                </c:pt>
                <c:pt idx="28">
                  <c:v>24.09.21</c:v>
                </c:pt>
                <c:pt idx="29">
                  <c:v>25.09.21</c:v>
                </c:pt>
                <c:pt idx="30">
                  <c:v>26.09.21</c:v>
                </c:pt>
                <c:pt idx="31">
                  <c:v>27.09.21</c:v>
                </c:pt>
                <c:pt idx="32">
                  <c:v>28.09.21</c:v>
                </c:pt>
                <c:pt idx="33">
                  <c:v>29.09.21</c:v>
                </c:pt>
                <c:pt idx="34">
                  <c:v>30.09.21</c:v>
                </c:pt>
                <c:pt idx="35">
                  <c:v>01.10.21</c:v>
                </c:pt>
                <c:pt idx="36">
                  <c:v>02.10.21</c:v>
                </c:pt>
                <c:pt idx="37">
                  <c:v>03.10.21</c:v>
                </c:pt>
                <c:pt idx="38">
                  <c:v>04.10.21</c:v>
                </c:pt>
                <c:pt idx="39">
                  <c:v>05.10.21</c:v>
                </c:pt>
                <c:pt idx="40">
                  <c:v>06.10.21</c:v>
                </c:pt>
                <c:pt idx="41">
                  <c:v>07.10.21</c:v>
                </c:pt>
                <c:pt idx="42">
                  <c:v>08.10.21</c:v>
                </c:pt>
                <c:pt idx="43">
                  <c:v>09.10.21</c:v>
                </c:pt>
                <c:pt idx="44">
                  <c:v>10.10.21</c:v>
                </c:pt>
                <c:pt idx="45">
                  <c:v>11.10.21</c:v>
                </c:pt>
                <c:pt idx="46">
                  <c:v>12.10.21</c:v>
                </c:pt>
                <c:pt idx="47">
                  <c:v>13.10.21</c:v>
                </c:pt>
                <c:pt idx="48">
                  <c:v>14.10.21</c:v>
                </c:pt>
                <c:pt idx="49">
                  <c:v>15.10.21</c:v>
                </c:pt>
                <c:pt idx="50">
                  <c:v>16.10.21</c:v>
                </c:pt>
                <c:pt idx="51">
                  <c:v>17.10.21</c:v>
                </c:pt>
                <c:pt idx="52">
                  <c:v>18.10.21</c:v>
                </c:pt>
                <c:pt idx="53">
                  <c:v>19.10.21</c:v>
                </c:pt>
                <c:pt idx="54">
                  <c:v>20.10.21</c:v>
                </c:pt>
                <c:pt idx="55">
                  <c:v>21.10.21</c:v>
                </c:pt>
                <c:pt idx="56">
                  <c:v>22.10.21</c:v>
                </c:pt>
                <c:pt idx="57">
                  <c:v>23.10.21</c:v>
                </c:pt>
                <c:pt idx="58">
                  <c:v>24.10.21</c:v>
                </c:pt>
                <c:pt idx="59">
                  <c:v>25.10.21</c:v>
                </c:pt>
                <c:pt idx="60">
                  <c:v>26.10.21</c:v>
                </c:pt>
                <c:pt idx="61">
                  <c:v>27.10.21</c:v>
                </c:pt>
                <c:pt idx="62">
                  <c:v>28.10.21</c:v>
                </c:pt>
                <c:pt idx="63">
                  <c:v>29.10.21</c:v>
                </c:pt>
                <c:pt idx="64">
                  <c:v>30.10.21</c:v>
                </c:pt>
                <c:pt idx="65">
                  <c:v>31.10.21</c:v>
                </c:pt>
                <c:pt idx="66">
                  <c:v>01.11.21</c:v>
                </c:pt>
                <c:pt idx="67">
                  <c:v>02.11.21</c:v>
                </c:pt>
                <c:pt idx="68">
                  <c:v>03.11.21</c:v>
                </c:pt>
                <c:pt idx="69">
                  <c:v>04.11.21</c:v>
                </c:pt>
                <c:pt idx="70">
                  <c:v>05.11.21</c:v>
                </c:pt>
                <c:pt idx="71">
                  <c:v>06.11.21</c:v>
                </c:pt>
                <c:pt idx="72">
                  <c:v>07.11.21</c:v>
                </c:pt>
                <c:pt idx="73">
                  <c:v>08.11.21</c:v>
                </c:pt>
                <c:pt idx="74">
                  <c:v>09.11.21</c:v>
                </c:pt>
                <c:pt idx="75">
                  <c:v>10.11.21</c:v>
                </c:pt>
                <c:pt idx="76">
                  <c:v>11.11.21</c:v>
                </c:pt>
                <c:pt idx="77">
                  <c:v>12.11.21</c:v>
                </c:pt>
                <c:pt idx="78">
                  <c:v>13.11.21</c:v>
                </c:pt>
                <c:pt idx="79">
                  <c:v>14.11.21</c:v>
                </c:pt>
                <c:pt idx="80">
                  <c:v>15.11.21</c:v>
                </c:pt>
                <c:pt idx="81">
                  <c:v>16.11.21</c:v>
                </c:pt>
                <c:pt idx="82">
                  <c:v>17.11.21</c:v>
                </c:pt>
                <c:pt idx="83">
                  <c:v>18.11.21</c:v>
                </c:pt>
                <c:pt idx="84">
                  <c:v>19.11.21</c:v>
                </c:pt>
                <c:pt idx="85">
                  <c:v>20.11.21</c:v>
                </c:pt>
                <c:pt idx="86">
                  <c:v>21.11.21</c:v>
                </c:pt>
                <c:pt idx="87">
                  <c:v>22.11.21</c:v>
                </c:pt>
                <c:pt idx="88">
                  <c:v>23.11.21</c:v>
                </c:pt>
                <c:pt idx="89">
                  <c:v>24.11.21</c:v>
                </c:pt>
                <c:pt idx="90">
                  <c:v>25.11.21</c:v>
                </c:pt>
                <c:pt idx="91">
                  <c:v>26.11.21</c:v>
                </c:pt>
                <c:pt idx="92">
                  <c:v>27.11.21</c:v>
                </c:pt>
                <c:pt idx="93">
                  <c:v>28.11.21</c:v>
                </c:pt>
                <c:pt idx="94">
                  <c:v>29.11.21</c:v>
                </c:pt>
                <c:pt idx="95">
                  <c:v>30.11.21</c:v>
                </c:pt>
                <c:pt idx="96">
                  <c:v>01.12.21</c:v>
                </c:pt>
                <c:pt idx="97">
                  <c:v>02.12.21</c:v>
                </c:pt>
                <c:pt idx="98">
                  <c:v>03.12.21</c:v>
                </c:pt>
                <c:pt idx="99">
                  <c:v>04.12.21</c:v>
                </c:pt>
                <c:pt idx="100">
                  <c:v>05.12.21</c:v>
                </c:pt>
                <c:pt idx="101">
                  <c:v>06.12.21</c:v>
                </c:pt>
                <c:pt idx="102">
                  <c:v>07.12.21</c:v>
                </c:pt>
                <c:pt idx="103">
                  <c:v>08.12.21</c:v>
                </c:pt>
                <c:pt idx="104">
                  <c:v>09.12.21</c:v>
                </c:pt>
                <c:pt idx="105">
                  <c:v>10.12.21</c:v>
                </c:pt>
                <c:pt idx="106">
                  <c:v>11.12.21</c:v>
                </c:pt>
                <c:pt idx="107">
                  <c:v>12.12.21</c:v>
                </c:pt>
                <c:pt idx="108">
                  <c:v>13.12.21</c:v>
                </c:pt>
                <c:pt idx="109">
                  <c:v>14.12.21</c:v>
                </c:pt>
                <c:pt idx="110">
                  <c:v>15.12.21</c:v>
                </c:pt>
                <c:pt idx="111">
                  <c:v>16.12.21</c:v>
                </c:pt>
                <c:pt idx="112">
                  <c:v>17.12.21</c:v>
                </c:pt>
                <c:pt idx="113">
                  <c:v>18.12.21</c:v>
                </c:pt>
                <c:pt idx="114">
                  <c:v>19.12.21</c:v>
                </c:pt>
                <c:pt idx="115">
                  <c:v>20.12.21</c:v>
                </c:pt>
                <c:pt idx="116">
                  <c:v>21.12.21</c:v>
                </c:pt>
                <c:pt idx="117">
                  <c:v>22.12.21</c:v>
                </c:pt>
                <c:pt idx="118">
                  <c:v>23.12.21</c:v>
                </c:pt>
                <c:pt idx="119">
                  <c:v>24.12.21</c:v>
                </c:pt>
                <c:pt idx="120">
                  <c:v>25.12.21</c:v>
                </c:pt>
                <c:pt idx="121">
                  <c:v>26.12.21</c:v>
                </c:pt>
                <c:pt idx="122">
                  <c:v>27.12.21</c:v>
                </c:pt>
                <c:pt idx="123">
                  <c:v>28.12.21</c:v>
                </c:pt>
                <c:pt idx="124">
                  <c:v>29.12.21</c:v>
                </c:pt>
                <c:pt idx="125">
                  <c:v>30.12.21</c:v>
                </c:pt>
                <c:pt idx="126">
                  <c:v>31.12.21</c:v>
                </c:pt>
                <c:pt idx="127">
                  <c:v>01.01.22</c:v>
                </c:pt>
                <c:pt idx="128">
                  <c:v>02.01.22</c:v>
                </c:pt>
                <c:pt idx="129">
                  <c:v>03.01.22</c:v>
                </c:pt>
                <c:pt idx="130">
                  <c:v>04.01.22</c:v>
                </c:pt>
                <c:pt idx="131">
                  <c:v>05.01.22</c:v>
                </c:pt>
                <c:pt idx="132">
                  <c:v>06.01.22</c:v>
                </c:pt>
                <c:pt idx="133">
                  <c:v>07.01.22</c:v>
                </c:pt>
                <c:pt idx="134">
                  <c:v>08.01.22</c:v>
                </c:pt>
                <c:pt idx="135">
                  <c:v>09.01.22</c:v>
                </c:pt>
                <c:pt idx="136">
                  <c:v>10.01.22</c:v>
                </c:pt>
                <c:pt idx="137">
                  <c:v>11.01.22</c:v>
                </c:pt>
                <c:pt idx="138">
                  <c:v>12.01.22</c:v>
                </c:pt>
                <c:pt idx="139">
                  <c:v>13.01.22</c:v>
                </c:pt>
                <c:pt idx="140">
                  <c:v>14.01.22</c:v>
                </c:pt>
                <c:pt idx="141">
                  <c:v>15.01.22</c:v>
                </c:pt>
                <c:pt idx="142">
                  <c:v>16.01.22</c:v>
                </c:pt>
                <c:pt idx="143">
                  <c:v>17.01.22</c:v>
                </c:pt>
                <c:pt idx="144">
                  <c:v>18.01.22</c:v>
                </c:pt>
                <c:pt idx="145">
                  <c:v>19.01.22</c:v>
                </c:pt>
                <c:pt idx="146">
                  <c:v>20.01.22</c:v>
                </c:pt>
                <c:pt idx="147">
                  <c:v>21.01.22</c:v>
                </c:pt>
                <c:pt idx="148">
                  <c:v>22.01.22</c:v>
                </c:pt>
                <c:pt idx="149">
                  <c:v>23.01.22</c:v>
                </c:pt>
                <c:pt idx="150">
                  <c:v>24.01.22</c:v>
                </c:pt>
                <c:pt idx="151">
                  <c:v>25.01.22</c:v>
                </c:pt>
                <c:pt idx="152">
                  <c:v>26.01.22</c:v>
                </c:pt>
                <c:pt idx="153">
                  <c:v>27.01.22</c:v>
                </c:pt>
                <c:pt idx="154">
                  <c:v>28.01.22</c:v>
                </c:pt>
                <c:pt idx="155">
                  <c:v>29.01.22</c:v>
                </c:pt>
                <c:pt idx="156">
                  <c:v>30.01.22</c:v>
                </c:pt>
                <c:pt idx="157">
                  <c:v>31.01.22</c:v>
                </c:pt>
                <c:pt idx="158">
                  <c:v>01.02.22</c:v>
                </c:pt>
                <c:pt idx="159">
                  <c:v>02.02.22</c:v>
                </c:pt>
                <c:pt idx="160">
                  <c:v>03.02.22</c:v>
                </c:pt>
                <c:pt idx="161">
                  <c:v>04.02.22</c:v>
                </c:pt>
                <c:pt idx="162">
                  <c:v>05.02.22</c:v>
                </c:pt>
                <c:pt idx="163">
                  <c:v>06.02.22</c:v>
                </c:pt>
                <c:pt idx="164">
                  <c:v>07.02.22</c:v>
                </c:pt>
                <c:pt idx="165">
                  <c:v>08.02.22</c:v>
                </c:pt>
                <c:pt idx="166">
                  <c:v>09.02.22</c:v>
                </c:pt>
                <c:pt idx="167">
                  <c:v>10.02.22</c:v>
                </c:pt>
                <c:pt idx="168">
                  <c:v>11.02.22</c:v>
                </c:pt>
                <c:pt idx="169">
                  <c:v>12.02.22</c:v>
                </c:pt>
                <c:pt idx="170">
                  <c:v>13.02.22</c:v>
                </c:pt>
                <c:pt idx="171">
                  <c:v>14.02.22</c:v>
                </c:pt>
                <c:pt idx="172">
                  <c:v>15.02.22</c:v>
                </c:pt>
                <c:pt idx="173">
                  <c:v>16.02.22</c:v>
                </c:pt>
                <c:pt idx="174">
                  <c:v>17.02.22</c:v>
                </c:pt>
                <c:pt idx="175">
                  <c:v>18.02.22</c:v>
                </c:pt>
                <c:pt idx="176">
                  <c:v>19.02.22</c:v>
                </c:pt>
                <c:pt idx="177">
                  <c:v>20.02.22</c:v>
                </c:pt>
                <c:pt idx="178">
                  <c:v>21.02.22</c:v>
                </c:pt>
                <c:pt idx="179">
                  <c:v>22.02.22</c:v>
                </c:pt>
                <c:pt idx="180">
                  <c:v>23.02.22</c:v>
                </c:pt>
                <c:pt idx="181">
                  <c:v>24.02.22</c:v>
                </c:pt>
                <c:pt idx="182">
                  <c:v>25.02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46</c:v>
                </c:pt>
                <c:pt idx="1">
                  <c:v>47</c:v>
                </c:pt>
                <c:pt idx="2">
                  <c:v>46</c:v>
                </c:pt>
                <c:pt idx="3">
                  <c:v>44</c:v>
                </c:pt>
                <c:pt idx="4">
                  <c:v>48</c:v>
                </c:pt>
                <c:pt idx="5">
                  <c:v>51</c:v>
                </c:pt>
                <c:pt idx="6">
                  <c:v>52</c:v>
                </c:pt>
                <c:pt idx="7">
                  <c:v>52</c:v>
                </c:pt>
                <c:pt idx="8">
                  <c:v>55</c:v>
                </c:pt>
                <c:pt idx="9">
                  <c:v>56</c:v>
                </c:pt>
                <c:pt idx="10">
                  <c:v>54</c:v>
                </c:pt>
                <c:pt idx="11">
                  <c:v>55</c:v>
                </c:pt>
                <c:pt idx="12">
                  <c:v>54</c:v>
                </c:pt>
                <c:pt idx="13">
                  <c:v>54</c:v>
                </c:pt>
                <c:pt idx="14">
                  <c:v>55</c:v>
                </c:pt>
                <c:pt idx="15">
                  <c:v>58</c:v>
                </c:pt>
                <c:pt idx="16">
                  <c:v>57</c:v>
                </c:pt>
                <c:pt idx="17">
                  <c:v>59</c:v>
                </c:pt>
                <c:pt idx="18">
                  <c:v>58</c:v>
                </c:pt>
                <c:pt idx="19">
                  <c:v>55</c:v>
                </c:pt>
                <c:pt idx="20">
                  <c:v>56</c:v>
                </c:pt>
                <c:pt idx="21">
                  <c:v>56</c:v>
                </c:pt>
                <c:pt idx="22">
                  <c:v>55</c:v>
                </c:pt>
                <c:pt idx="23">
                  <c:v>55</c:v>
                </c:pt>
                <c:pt idx="24">
                  <c:v>53</c:v>
                </c:pt>
                <c:pt idx="25">
                  <c:v>56</c:v>
                </c:pt>
                <c:pt idx="26">
                  <c:v>59</c:v>
                </c:pt>
                <c:pt idx="27">
                  <c:v>59</c:v>
                </c:pt>
                <c:pt idx="28">
                  <c:v>60</c:v>
                </c:pt>
                <c:pt idx="29">
                  <c:v>58</c:v>
                </c:pt>
                <c:pt idx="30">
                  <c:v>58</c:v>
                </c:pt>
                <c:pt idx="31">
                  <c:v>60</c:v>
                </c:pt>
                <c:pt idx="32">
                  <c:v>64</c:v>
                </c:pt>
                <c:pt idx="33">
                  <c:v>67</c:v>
                </c:pt>
                <c:pt idx="34">
                  <c:v>75</c:v>
                </c:pt>
                <c:pt idx="35">
                  <c:v>76</c:v>
                </c:pt>
                <c:pt idx="36">
                  <c:v>80</c:v>
                </c:pt>
                <c:pt idx="37">
                  <c:v>80</c:v>
                </c:pt>
                <c:pt idx="38">
                  <c:v>79</c:v>
                </c:pt>
                <c:pt idx="39">
                  <c:v>78</c:v>
                </c:pt>
                <c:pt idx="40">
                  <c:v>79</c:v>
                </c:pt>
                <c:pt idx="41">
                  <c:v>84</c:v>
                </c:pt>
                <c:pt idx="42">
                  <c:v>87</c:v>
                </c:pt>
                <c:pt idx="43">
                  <c:v>88</c:v>
                </c:pt>
                <c:pt idx="44">
                  <c:v>87</c:v>
                </c:pt>
                <c:pt idx="45">
                  <c:v>81</c:v>
                </c:pt>
                <c:pt idx="46">
                  <c:v>90</c:v>
                </c:pt>
                <c:pt idx="47">
                  <c:v>87</c:v>
                </c:pt>
                <c:pt idx="48">
                  <c:v>90</c:v>
                </c:pt>
                <c:pt idx="49">
                  <c:v>93</c:v>
                </c:pt>
                <c:pt idx="50">
                  <c:v>96</c:v>
                </c:pt>
                <c:pt idx="51">
                  <c:v>102</c:v>
                </c:pt>
                <c:pt idx="52">
                  <c:v>119</c:v>
                </c:pt>
                <c:pt idx="53">
                  <c:v>132</c:v>
                </c:pt>
                <c:pt idx="54">
                  <c:v>140</c:v>
                </c:pt>
                <c:pt idx="55">
                  <c:v>147</c:v>
                </c:pt>
                <c:pt idx="56">
                  <c:v>158</c:v>
                </c:pt>
                <c:pt idx="57">
                  <c:v>171</c:v>
                </c:pt>
                <c:pt idx="58">
                  <c:v>181</c:v>
                </c:pt>
                <c:pt idx="59">
                  <c:v>206</c:v>
                </c:pt>
                <c:pt idx="60">
                  <c:v>213</c:v>
                </c:pt>
                <c:pt idx="61">
                  <c:v>232</c:v>
                </c:pt>
                <c:pt idx="62">
                  <c:v>246</c:v>
                </c:pt>
                <c:pt idx="63">
                  <c:v>276</c:v>
                </c:pt>
                <c:pt idx="64">
                  <c:v>292</c:v>
                </c:pt>
                <c:pt idx="65">
                  <c:v>298</c:v>
                </c:pt>
                <c:pt idx="66">
                  <c:v>337</c:v>
                </c:pt>
                <c:pt idx="67">
                  <c:v>359</c:v>
                </c:pt>
                <c:pt idx="68">
                  <c:v>382</c:v>
                </c:pt>
                <c:pt idx="69">
                  <c:v>396</c:v>
                </c:pt>
                <c:pt idx="70">
                  <c:v>414</c:v>
                </c:pt>
                <c:pt idx="71">
                  <c:v>422</c:v>
                </c:pt>
                <c:pt idx="72">
                  <c:v>430</c:v>
                </c:pt>
                <c:pt idx="73">
                  <c:v>451</c:v>
                </c:pt>
                <c:pt idx="74">
                  <c:v>481</c:v>
                </c:pt>
                <c:pt idx="75">
                  <c:v>498</c:v>
                </c:pt>
                <c:pt idx="76">
                  <c:v>531</c:v>
                </c:pt>
                <c:pt idx="77">
                  <c:v>530</c:v>
                </c:pt>
                <c:pt idx="78">
                  <c:v>565</c:v>
                </c:pt>
                <c:pt idx="79">
                  <c:v>570</c:v>
                </c:pt>
                <c:pt idx="80">
                  <c:v>569</c:v>
                </c:pt>
                <c:pt idx="81">
                  <c:v>595</c:v>
                </c:pt>
                <c:pt idx="82">
                  <c:v>601</c:v>
                </c:pt>
                <c:pt idx="83">
                  <c:v>626</c:v>
                </c:pt>
                <c:pt idx="84">
                  <c:v>668</c:v>
                </c:pt>
                <c:pt idx="85">
                  <c:v>696</c:v>
                </c:pt>
                <c:pt idx="86">
                  <c:v>700</c:v>
                </c:pt>
                <c:pt idx="87">
                  <c:v>696</c:v>
                </c:pt>
                <c:pt idx="88">
                  <c:v>734</c:v>
                </c:pt>
                <c:pt idx="89">
                  <c:v>722</c:v>
                </c:pt>
                <c:pt idx="90">
                  <c:v>738</c:v>
                </c:pt>
                <c:pt idx="91">
                  <c:v>730</c:v>
                </c:pt>
                <c:pt idx="92">
                  <c:v>735</c:v>
                </c:pt>
                <c:pt idx="93">
                  <c:v>750</c:v>
                </c:pt>
                <c:pt idx="94">
                  <c:v>740</c:v>
                </c:pt>
                <c:pt idx="95">
                  <c:v>734</c:v>
                </c:pt>
                <c:pt idx="96">
                  <c:v>749</c:v>
                </c:pt>
                <c:pt idx="97">
                  <c:v>720</c:v>
                </c:pt>
                <c:pt idx="98">
                  <c:v>693</c:v>
                </c:pt>
                <c:pt idx="99">
                  <c:v>687</c:v>
                </c:pt>
                <c:pt idx="100">
                  <c:v>669</c:v>
                </c:pt>
                <c:pt idx="101">
                  <c:v>628</c:v>
                </c:pt>
                <c:pt idx="102">
                  <c:v>608</c:v>
                </c:pt>
                <c:pt idx="103">
                  <c:v>596</c:v>
                </c:pt>
                <c:pt idx="104">
                  <c:v>568</c:v>
                </c:pt>
                <c:pt idx="105">
                  <c:v>547</c:v>
                </c:pt>
                <c:pt idx="106">
                  <c:v>536</c:v>
                </c:pt>
                <c:pt idx="107">
                  <c:v>515</c:v>
                </c:pt>
                <c:pt idx="108">
                  <c:v>484</c:v>
                </c:pt>
                <c:pt idx="109">
                  <c:v>462</c:v>
                </c:pt>
                <c:pt idx="110">
                  <c:v>439</c:v>
                </c:pt>
                <c:pt idx="111">
                  <c:v>411</c:v>
                </c:pt>
                <c:pt idx="112">
                  <c:v>388</c:v>
                </c:pt>
                <c:pt idx="113">
                  <c:v>385</c:v>
                </c:pt>
                <c:pt idx="114">
                  <c:v>383</c:v>
                </c:pt>
                <c:pt idx="115">
                  <c:v>357</c:v>
                </c:pt>
                <c:pt idx="116">
                  <c:v>356</c:v>
                </c:pt>
                <c:pt idx="117">
                  <c:v>342</c:v>
                </c:pt>
                <c:pt idx="118">
                  <c:v>332</c:v>
                </c:pt>
                <c:pt idx="119">
                  <c:v>304</c:v>
                </c:pt>
                <c:pt idx="120">
                  <c:v>301</c:v>
                </c:pt>
                <c:pt idx="121">
                  <c:v>297</c:v>
                </c:pt>
                <c:pt idx="122">
                  <c:v>286</c:v>
                </c:pt>
                <c:pt idx="123">
                  <c:v>292</c:v>
                </c:pt>
                <c:pt idx="124">
                  <c:v>296</c:v>
                </c:pt>
                <c:pt idx="125">
                  <c:v>297</c:v>
                </c:pt>
                <c:pt idx="126">
                  <c:v>292</c:v>
                </c:pt>
                <c:pt idx="127">
                  <c:v>283</c:v>
                </c:pt>
                <c:pt idx="128">
                  <c:v>291</c:v>
                </c:pt>
                <c:pt idx="129">
                  <c:v>290</c:v>
                </c:pt>
                <c:pt idx="130">
                  <c:v>294</c:v>
                </c:pt>
                <c:pt idx="131">
                  <c:v>297</c:v>
                </c:pt>
                <c:pt idx="132">
                  <c:v>306</c:v>
                </c:pt>
                <c:pt idx="133">
                  <c:v>319</c:v>
                </c:pt>
                <c:pt idx="134">
                  <c:v>322</c:v>
                </c:pt>
                <c:pt idx="135">
                  <c:v>328</c:v>
                </c:pt>
                <c:pt idx="136">
                  <c:v>328</c:v>
                </c:pt>
                <c:pt idx="137">
                  <c:v>345</c:v>
                </c:pt>
                <c:pt idx="138">
                  <c:v>395</c:v>
                </c:pt>
                <c:pt idx="139">
                  <c:v>412</c:v>
                </c:pt>
                <c:pt idx="140">
                  <c:v>442</c:v>
                </c:pt>
                <c:pt idx="141">
                  <c:v>460</c:v>
                </c:pt>
                <c:pt idx="142">
                  <c:v>478</c:v>
                </c:pt>
                <c:pt idx="143">
                  <c:v>551</c:v>
                </c:pt>
                <c:pt idx="144">
                  <c:v>618</c:v>
                </c:pt>
                <c:pt idx="145">
                  <c:v>708</c:v>
                </c:pt>
                <c:pt idx="146">
                  <c:v>794</c:v>
                </c:pt>
                <c:pt idx="147">
                  <c:v>803</c:v>
                </c:pt>
                <c:pt idx="148">
                  <c:v>786</c:v>
                </c:pt>
                <c:pt idx="149">
                  <c:v>804</c:v>
                </c:pt>
                <c:pt idx="150">
                  <c:v>900</c:v>
                </c:pt>
                <c:pt idx="151">
                  <c:v>1010</c:v>
                </c:pt>
                <c:pt idx="152">
                  <c:v>1130</c:v>
                </c:pt>
                <c:pt idx="153">
                  <c:v>1151</c:v>
                </c:pt>
                <c:pt idx="154">
                  <c:v>1205</c:v>
                </c:pt>
                <c:pt idx="155">
                  <c:v>1150</c:v>
                </c:pt>
                <c:pt idx="156">
                  <c:v>1150</c:v>
                </c:pt>
                <c:pt idx="157">
                  <c:v>1222</c:v>
                </c:pt>
                <c:pt idx="158">
                  <c:v>1367</c:v>
                </c:pt>
                <c:pt idx="159">
                  <c:v>1420</c:v>
                </c:pt>
                <c:pt idx="160">
                  <c:v>1358</c:v>
                </c:pt>
                <c:pt idx="161">
                  <c:v>1292</c:v>
                </c:pt>
                <c:pt idx="162">
                  <c:v>1232</c:v>
                </c:pt>
                <c:pt idx="163">
                  <c:v>1144</c:v>
                </c:pt>
                <c:pt idx="164">
                  <c:v>1149</c:v>
                </c:pt>
                <c:pt idx="165">
                  <c:v>1195</c:v>
                </c:pt>
                <c:pt idx="166">
                  <c:v>1190</c:v>
                </c:pt>
                <c:pt idx="167">
                  <c:v>1072</c:v>
                </c:pt>
                <c:pt idx="168">
                  <c:v>1007</c:v>
                </c:pt>
                <c:pt idx="169">
                  <c:v>887</c:v>
                </c:pt>
                <c:pt idx="170">
                  <c:v>805</c:v>
                </c:pt>
                <c:pt idx="171">
                  <c:v>828</c:v>
                </c:pt>
                <c:pt idx="172">
                  <c:v>857</c:v>
                </c:pt>
                <c:pt idx="173">
                  <c:v>875</c:v>
                </c:pt>
                <c:pt idx="174">
                  <c:v>789</c:v>
                </c:pt>
                <c:pt idx="175">
                  <c:v>748</c:v>
                </c:pt>
                <c:pt idx="176">
                  <c:v>697</c:v>
                </c:pt>
                <c:pt idx="177">
                  <c:v>628</c:v>
                </c:pt>
                <c:pt idx="178">
                  <c:v>619</c:v>
                </c:pt>
                <c:pt idx="179">
                  <c:v>628</c:v>
                </c:pt>
                <c:pt idx="180">
                  <c:v>633</c:v>
                </c:pt>
                <c:pt idx="181">
                  <c:v>547</c:v>
                </c:pt>
                <c:pt idx="182">
                  <c:v>5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1.7754105636927238E-3"/>
                  <c:y val="9.1782611050075675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27.08.21</c:v>
                </c:pt>
                <c:pt idx="1">
                  <c:v>28.08.21</c:v>
                </c:pt>
                <c:pt idx="2">
                  <c:v>29.08.21</c:v>
                </c:pt>
                <c:pt idx="3">
                  <c:v>30.08.21</c:v>
                </c:pt>
                <c:pt idx="4">
                  <c:v>31.08.21</c:v>
                </c:pt>
                <c:pt idx="5">
                  <c:v>01.09.21</c:v>
                </c:pt>
                <c:pt idx="6">
                  <c:v>02.09.21</c:v>
                </c:pt>
                <c:pt idx="7">
                  <c:v>03.09.21</c:v>
                </c:pt>
                <c:pt idx="8">
                  <c:v>04.09.21</c:v>
                </c:pt>
                <c:pt idx="9">
                  <c:v>05.09.21</c:v>
                </c:pt>
                <c:pt idx="10">
                  <c:v>06.09.21</c:v>
                </c:pt>
                <c:pt idx="11">
                  <c:v>07.09.21</c:v>
                </c:pt>
                <c:pt idx="12">
                  <c:v>08.09.21</c:v>
                </c:pt>
                <c:pt idx="13">
                  <c:v>09.09.21</c:v>
                </c:pt>
                <c:pt idx="14">
                  <c:v>10.09.21</c:v>
                </c:pt>
                <c:pt idx="15">
                  <c:v>11.09.21</c:v>
                </c:pt>
                <c:pt idx="16">
                  <c:v>12.09.21</c:v>
                </c:pt>
                <c:pt idx="17">
                  <c:v>13.09.21</c:v>
                </c:pt>
                <c:pt idx="18">
                  <c:v>14.09.21</c:v>
                </c:pt>
                <c:pt idx="19">
                  <c:v>15.09.21</c:v>
                </c:pt>
                <c:pt idx="20">
                  <c:v>16.09.21</c:v>
                </c:pt>
                <c:pt idx="21">
                  <c:v>17.09.21</c:v>
                </c:pt>
                <c:pt idx="22">
                  <c:v>18.09.21</c:v>
                </c:pt>
                <c:pt idx="23">
                  <c:v>19.09.21</c:v>
                </c:pt>
                <c:pt idx="24">
                  <c:v>20.09.21</c:v>
                </c:pt>
                <c:pt idx="25">
                  <c:v>21.09.21</c:v>
                </c:pt>
                <c:pt idx="26">
                  <c:v>22.09.21</c:v>
                </c:pt>
                <c:pt idx="27">
                  <c:v>23.09.21</c:v>
                </c:pt>
                <c:pt idx="28">
                  <c:v>24.09.21</c:v>
                </c:pt>
                <c:pt idx="29">
                  <c:v>25.09.21</c:v>
                </c:pt>
                <c:pt idx="30">
                  <c:v>26.09.21</c:v>
                </c:pt>
                <c:pt idx="31">
                  <c:v>27.09.21</c:v>
                </c:pt>
                <c:pt idx="32">
                  <c:v>28.09.21</c:v>
                </c:pt>
                <c:pt idx="33">
                  <c:v>29.09.21</c:v>
                </c:pt>
                <c:pt idx="34">
                  <c:v>30.09.21</c:v>
                </c:pt>
                <c:pt idx="35">
                  <c:v>01.10.21</c:v>
                </c:pt>
                <c:pt idx="36">
                  <c:v>02.10.21</c:v>
                </c:pt>
                <c:pt idx="37">
                  <c:v>03.10.21</c:v>
                </c:pt>
                <c:pt idx="38">
                  <c:v>04.10.21</c:v>
                </c:pt>
                <c:pt idx="39">
                  <c:v>05.10.21</c:v>
                </c:pt>
                <c:pt idx="40">
                  <c:v>06.10.21</c:v>
                </c:pt>
                <c:pt idx="41">
                  <c:v>07.10.21</c:v>
                </c:pt>
                <c:pt idx="42">
                  <c:v>08.10.21</c:v>
                </c:pt>
                <c:pt idx="43">
                  <c:v>09.10.21</c:v>
                </c:pt>
                <c:pt idx="44">
                  <c:v>10.10.21</c:v>
                </c:pt>
                <c:pt idx="45">
                  <c:v>11.10.21</c:v>
                </c:pt>
                <c:pt idx="46">
                  <c:v>12.10.21</c:v>
                </c:pt>
                <c:pt idx="47">
                  <c:v>13.10.21</c:v>
                </c:pt>
                <c:pt idx="48">
                  <c:v>14.10.21</c:v>
                </c:pt>
                <c:pt idx="49">
                  <c:v>15.10.21</c:v>
                </c:pt>
                <c:pt idx="50">
                  <c:v>16.10.21</c:v>
                </c:pt>
                <c:pt idx="51">
                  <c:v>17.10.21</c:v>
                </c:pt>
                <c:pt idx="52">
                  <c:v>18.10.21</c:v>
                </c:pt>
                <c:pt idx="53">
                  <c:v>19.10.21</c:v>
                </c:pt>
                <c:pt idx="54">
                  <c:v>20.10.21</c:v>
                </c:pt>
                <c:pt idx="55">
                  <c:v>21.10.21</c:v>
                </c:pt>
                <c:pt idx="56">
                  <c:v>22.10.21</c:v>
                </c:pt>
                <c:pt idx="57">
                  <c:v>23.10.21</c:v>
                </c:pt>
                <c:pt idx="58">
                  <c:v>24.10.21</c:v>
                </c:pt>
                <c:pt idx="59">
                  <c:v>25.10.21</c:v>
                </c:pt>
                <c:pt idx="60">
                  <c:v>26.10.21</c:v>
                </c:pt>
                <c:pt idx="61">
                  <c:v>27.10.21</c:v>
                </c:pt>
                <c:pt idx="62">
                  <c:v>28.10.21</c:v>
                </c:pt>
                <c:pt idx="63">
                  <c:v>29.10.21</c:v>
                </c:pt>
                <c:pt idx="64">
                  <c:v>30.10.21</c:v>
                </c:pt>
                <c:pt idx="65">
                  <c:v>31.10.21</c:v>
                </c:pt>
                <c:pt idx="66">
                  <c:v>01.11.21</c:v>
                </c:pt>
                <c:pt idx="67">
                  <c:v>02.11.21</c:v>
                </c:pt>
                <c:pt idx="68">
                  <c:v>03.11.21</c:v>
                </c:pt>
                <c:pt idx="69">
                  <c:v>04.11.21</c:v>
                </c:pt>
                <c:pt idx="70">
                  <c:v>05.11.21</c:v>
                </c:pt>
                <c:pt idx="71">
                  <c:v>06.11.21</c:v>
                </c:pt>
                <c:pt idx="72">
                  <c:v>07.11.21</c:v>
                </c:pt>
                <c:pt idx="73">
                  <c:v>08.11.21</c:v>
                </c:pt>
                <c:pt idx="74">
                  <c:v>09.11.21</c:v>
                </c:pt>
                <c:pt idx="75">
                  <c:v>10.11.21</c:v>
                </c:pt>
                <c:pt idx="76">
                  <c:v>11.11.21</c:v>
                </c:pt>
                <c:pt idx="77">
                  <c:v>12.11.21</c:v>
                </c:pt>
                <c:pt idx="78">
                  <c:v>13.11.21</c:v>
                </c:pt>
                <c:pt idx="79">
                  <c:v>14.11.21</c:v>
                </c:pt>
                <c:pt idx="80">
                  <c:v>15.11.21</c:v>
                </c:pt>
                <c:pt idx="81">
                  <c:v>16.11.21</c:v>
                </c:pt>
                <c:pt idx="82">
                  <c:v>17.11.21</c:v>
                </c:pt>
                <c:pt idx="83">
                  <c:v>18.11.21</c:v>
                </c:pt>
                <c:pt idx="84">
                  <c:v>19.11.21</c:v>
                </c:pt>
                <c:pt idx="85">
                  <c:v>20.11.21</c:v>
                </c:pt>
                <c:pt idx="86">
                  <c:v>21.11.21</c:v>
                </c:pt>
                <c:pt idx="87">
                  <c:v>22.11.21</c:v>
                </c:pt>
                <c:pt idx="88">
                  <c:v>23.11.21</c:v>
                </c:pt>
                <c:pt idx="89">
                  <c:v>24.11.21</c:v>
                </c:pt>
                <c:pt idx="90">
                  <c:v>25.11.21</c:v>
                </c:pt>
                <c:pt idx="91">
                  <c:v>26.11.21</c:v>
                </c:pt>
                <c:pt idx="92">
                  <c:v>27.11.21</c:v>
                </c:pt>
                <c:pt idx="93">
                  <c:v>28.11.21</c:v>
                </c:pt>
                <c:pt idx="94">
                  <c:v>29.11.21</c:v>
                </c:pt>
                <c:pt idx="95">
                  <c:v>30.11.21</c:v>
                </c:pt>
                <c:pt idx="96">
                  <c:v>01.12.21</c:v>
                </c:pt>
                <c:pt idx="97">
                  <c:v>02.12.21</c:v>
                </c:pt>
                <c:pt idx="98">
                  <c:v>03.12.21</c:v>
                </c:pt>
                <c:pt idx="99">
                  <c:v>04.12.21</c:v>
                </c:pt>
                <c:pt idx="100">
                  <c:v>05.12.21</c:v>
                </c:pt>
                <c:pt idx="101">
                  <c:v>06.12.21</c:v>
                </c:pt>
                <c:pt idx="102">
                  <c:v>07.12.21</c:v>
                </c:pt>
                <c:pt idx="103">
                  <c:v>08.12.21</c:v>
                </c:pt>
                <c:pt idx="104">
                  <c:v>09.12.21</c:v>
                </c:pt>
                <c:pt idx="105">
                  <c:v>10.12.21</c:v>
                </c:pt>
                <c:pt idx="106">
                  <c:v>11.12.21</c:v>
                </c:pt>
                <c:pt idx="107">
                  <c:v>12.12.21</c:v>
                </c:pt>
                <c:pt idx="108">
                  <c:v>13.12.21</c:v>
                </c:pt>
                <c:pt idx="109">
                  <c:v>14.12.21</c:v>
                </c:pt>
                <c:pt idx="110">
                  <c:v>15.12.21</c:v>
                </c:pt>
                <c:pt idx="111">
                  <c:v>16.12.21</c:v>
                </c:pt>
                <c:pt idx="112">
                  <c:v>17.12.21</c:v>
                </c:pt>
                <c:pt idx="113">
                  <c:v>18.12.21</c:v>
                </c:pt>
                <c:pt idx="114">
                  <c:v>19.12.21</c:v>
                </c:pt>
                <c:pt idx="115">
                  <c:v>20.12.21</c:v>
                </c:pt>
                <c:pt idx="116">
                  <c:v>21.12.21</c:v>
                </c:pt>
                <c:pt idx="117">
                  <c:v>22.12.21</c:v>
                </c:pt>
                <c:pt idx="118">
                  <c:v>23.12.21</c:v>
                </c:pt>
                <c:pt idx="119">
                  <c:v>24.12.21</c:v>
                </c:pt>
                <c:pt idx="120">
                  <c:v>25.12.21</c:v>
                </c:pt>
                <c:pt idx="121">
                  <c:v>26.12.21</c:v>
                </c:pt>
                <c:pt idx="122">
                  <c:v>27.12.21</c:v>
                </c:pt>
                <c:pt idx="123">
                  <c:v>28.12.21</c:v>
                </c:pt>
                <c:pt idx="124">
                  <c:v>29.12.21</c:v>
                </c:pt>
                <c:pt idx="125">
                  <c:v>30.12.21</c:v>
                </c:pt>
                <c:pt idx="126">
                  <c:v>31.12.21</c:v>
                </c:pt>
                <c:pt idx="127">
                  <c:v>01.01.22</c:v>
                </c:pt>
                <c:pt idx="128">
                  <c:v>02.01.22</c:v>
                </c:pt>
                <c:pt idx="129">
                  <c:v>03.01.22</c:v>
                </c:pt>
                <c:pt idx="130">
                  <c:v>04.01.22</c:v>
                </c:pt>
                <c:pt idx="131">
                  <c:v>05.01.22</c:v>
                </c:pt>
                <c:pt idx="132">
                  <c:v>06.01.22</c:v>
                </c:pt>
                <c:pt idx="133">
                  <c:v>07.01.22</c:v>
                </c:pt>
                <c:pt idx="134">
                  <c:v>08.01.22</c:v>
                </c:pt>
                <c:pt idx="135">
                  <c:v>09.01.22</c:v>
                </c:pt>
                <c:pt idx="136">
                  <c:v>10.01.22</c:v>
                </c:pt>
                <c:pt idx="137">
                  <c:v>11.01.22</c:v>
                </c:pt>
                <c:pt idx="138">
                  <c:v>12.01.22</c:v>
                </c:pt>
                <c:pt idx="139">
                  <c:v>13.01.22</c:v>
                </c:pt>
                <c:pt idx="140">
                  <c:v>14.01.22</c:v>
                </c:pt>
                <c:pt idx="141">
                  <c:v>15.01.22</c:v>
                </c:pt>
                <c:pt idx="142">
                  <c:v>16.01.22</c:v>
                </c:pt>
                <c:pt idx="143">
                  <c:v>17.01.22</c:v>
                </c:pt>
                <c:pt idx="144">
                  <c:v>18.01.22</c:v>
                </c:pt>
                <c:pt idx="145">
                  <c:v>19.01.22</c:v>
                </c:pt>
                <c:pt idx="146">
                  <c:v>20.01.22</c:v>
                </c:pt>
                <c:pt idx="147">
                  <c:v>21.01.22</c:v>
                </c:pt>
                <c:pt idx="148">
                  <c:v>22.01.22</c:v>
                </c:pt>
                <c:pt idx="149">
                  <c:v>23.01.22</c:v>
                </c:pt>
                <c:pt idx="150">
                  <c:v>24.01.22</c:v>
                </c:pt>
                <c:pt idx="151">
                  <c:v>25.01.22</c:v>
                </c:pt>
                <c:pt idx="152">
                  <c:v>26.01.22</c:v>
                </c:pt>
                <c:pt idx="153">
                  <c:v>27.01.22</c:v>
                </c:pt>
                <c:pt idx="154">
                  <c:v>28.01.22</c:v>
                </c:pt>
                <c:pt idx="155">
                  <c:v>29.01.22</c:v>
                </c:pt>
                <c:pt idx="156">
                  <c:v>30.01.22</c:v>
                </c:pt>
                <c:pt idx="157">
                  <c:v>31.01.22</c:v>
                </c:pt>
                <c:pt idx="158">
                  <c:v>01.02.22</c:v>
                </c:pt>
                <c:pt idx="159">
                  <c:v>02.02.22</c:v>
                </c:pt>
                <c:pt idx="160">
                  <c:v>03.02.22</c:v>
                </c:pt>
                <c:pt idx="161">
                  <c:v>04.02.22</c:v>
                </c:pt>
                <c:pt idx="162">
                  <c:v>05.02.22</c:v>
                </c:pt>
                <c:pt idx="163">
                  <c:v>06.02.22</c:v>
                </c:pt>
                <c:pt idx="164">
                  <c:v>07.02.22</c:v>
                </c:pt>
                <c:pt idx="165">
                  <c:v>08.02.22</c:v>
                </c:pt>
                <c:pt idx="166">
                  <c:v>09.02.22</c:v>
                </c:pt>
                <c:pt idx="167">
                  <c:v>10.02.22</c:v>
                </c:pt>
                <c:pt idx="168">
                  <c:v>11.02.22</c:v>
                </c:pt>
                <c:pt idx="169">
                  <c:v>12.02.22</c:v>
                </c:pt>
                <c:pt idx="170">
                  <c:v>13.02.22</c:v>
                </c:pt>
                <c:pt idx="171">
                  <c:v>14.02.22</c:v>
                </c:pt>
                <c:pt idx="172">
                  <c:v>15.02.22</c:v>
                </c:pt>
                <c:pt idx="173">
                  <c:v>16.02.22</c:v>
                </c:pt>
                <c:pt idx="174">
                  <c:v>17.02.22</c:v>
                </c:pt>
                <c:pt idx="175">
                  <c:v>18.02.22</c:v>
                </c:pt>
                <c:pt idx="176">
                  <c:v>19.02.22</c:v>
                </c:pt>
                <c:pt idx="177">
                  <c:v>20.02.22</c:v>
                </c:pt>
                <c:pt idx="178">
                  <c:v>21.02.22</c:v>
                </c:pt>
                <c:pt idx="179">
                  <c:v>22.02.22</c:v>
                </c:pt>
                <c:pt idx="180">
                  <c:v>23.02.22</c:v>
                </c:pt>
                <c:pt idx="181">
                  <c:v>24.02.22</c:v>
                </c:pt>
                <c:pt idx="182">
                  <c:v>25.02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119</c:v>
                </c:pt>
                <c:pt idx="1">
                  <c:v>119</c:v>
                </c:pt>
                <c:pt idx="2">
                  <c:v>118</c:v>
                </c:pt>
                <c:pt idx="3">
                  <c:v>113</c:v>
                </c:pt>
                <c:pt idx="4">
                  <c:v>114</c:v>
                </c:pt>
                <c:pt idx="5">
                  <c:v>112</c:v>
                </c:pt>
                <c:pt idx="6">
                  <c:v>117</c:v>
                </c:pt>
                <c:pt idx="7">
                  <c:v>123</c:v>
                </c:pt>
                <c:pt idx="8">
                  <c:v>124</c:v>
                </c:pt>
                <c:pt idx="9">
                  <c:v>122</c:v>
                </c:pt>
                <c:pt idx="10">
                  <c:v>120</c:v>
                </c:pt>
                <c:pt idx="11">
                  <c:v>126</c:v>
                </c:pt>
                <c:pt idx="12">
                  <c:v>126</c:v>
                </c:pt>
                <c:pt idx="13">
                  <c:v>128</c:v>
                </c:pt>
                <c:pt idx="14">
                  <c:v>128</c:v>
                </c:pt>
                <c:pt idx="15">
                  <c:v>127</c:v>
                </c:pt>
                <c:pt idx="16">
                  <c:v>128</c:v>
                </c:pt>
                <c:pt idx="17">
                  <c:v>129</c:v>
                </c:pt>
                <c:pt idx="18">
                  <c:v>132</c:v>
                </c:pt>
                <c:pt idx="19">
                  <c:v>134</c:v>
                </c:pt>
                <c:pt idx="20">
                  <c:v>136</c:v>
                </c:pt>
                <c:pt idx="21">
                  <c:v>135</c:v>
                </c:pt>
                <c:pt idx="22">
                  <c:v>137</c:v>
                </c:pt>
                <c:pt idx="23">
                  <c:v>138</c:v>
                </c:pt>
                <c:pt idx="24">
                  <c:v>144</c:v>
                </c:pt>
                <c:pt idx="25">
                  <c:v>146</c:v>
                </c:pt>
                <c:pt idx="26">
                  <c:v>151</c:v>
                </c:pt>
                <c:pt idx="27">
                  <c:v>154</c:v>
                </c:pt>
                <c:pt idx="28">
                  <c:v>161</c:v>
                </c:pt>
                <c:pt idx="29">
                  <c:v>167</c:v>
                </c:pt>
                <c:pt idx="30">
                  <c:v>169</c:v>
                </c:pt>
                <c:pt idx="31">
                  <c:v>170</c:v>
                </c:pt>
                <c:pt idx="32">
                  <c:v>175</c:v>
                </c:pt>
                <c:pt idx="33">
                  <c:v>181</c:v>
                </c:pt>
                <c:pt idx="34">
                  <c:v>189</c:v>
                </c:pt>
                <c:pt idx="35">
                  <c:v>191</c:v>
                </c:pt>
                <c:pt idx="36">
                  <c:v>192</c:v>
                </c:pt>
                <c:pt idx="37">
                  <c:v>198</c:v>
                </c:pt>
                <c:pt idx="38">
                  <c:v>197</c:v>
                </c:pt>
                <c:pt idx="39">
                  <c:v>206</c:v>
                </c:pt>
                <c:pt idx="40">
                  <c:v>210</c:v>
                </c:pt>
                <c:pt idx="41">
                  <c:v>212</c:v>
                </c:pt>
                <c:pt idx="42">
                  <c:v>213</c:v>
                </c:pt>
                <c:pt idx="43">
                  <c:v>213</c:v>
                </c:pt>
                <c:pt idx="44">
                  <c:v>211</c:v>
                </c:pt>
                <c:pt idx="45">
                  <c:v>222</c:v>
                </c:pt>
                <c:pt idx="46">
                  <c:v>234</c:v>
                </c:pt>
                <c:pt idx="47">
                  <c:v>235</c:v>
                </c:pt>
                <c:pt idx="48">
                  <c:v>245</c:v>
                </c:pt>
                <c:pt idx="49">
                  <c:v>255</c:v>
                </c:pt>
                <c:pt idx="50">
                  <c:v>260</c:v>
                </c:pt>
                <c:pt idx="51">
                  <c:v>263</c:v>
                </c:pt>
                <c:pt idx="52">
                  <c:v>285</c:v>
                </c:pt>
                <c:pt idx="53">
                  <c:v>296</c:v>
                </c:pt>
                <c:pt idx="54">
                  <c:v>312</c:v>
                </c:pt>
                <c:pt idx="55">
                  <c:v>351</c:v>
                </c:pt>
                <c:pt idx="56">
                  <c:v>378</c:v>
                </c:pt>
                <c:pt idx="57">
                  <c:v>407</c:v>
                </c:pt>
                <c:pt idx="58">
                  <c:v>410</c:v>
                </c:pt>
                <c:pt idx="59">
                  <c:v>453</c:v>
                </c:pt>
                <c:pt idx="60">
                  <c:v>499</c:v>
                </c:pt>
                <c:pt idx="61">
                  <c:v>550</c:v>
                </c:pt>
                <c:pt idx="62">
                  <c:v>565</c:v>
                </c:pt>
                <c:pt idx="63">
                  <c:v>624</c:v>
                </c:pt>
                <c:pt idx="64">
                  <c:v>671</c:v>
                </c:pt>
                <c:pt idx="65">
                  <c:v>698</c:v>
                </c:pt>
                <c:pt idx="66">
                  <c:v>760</c:v>
                </c:pt>
                <c:pt idx="67">
                  <c:v>841</c:v>
                </c:pt>
                <c:pt idx="68">
                  <c:v>914</c:v>
                </c:pt>
                <c:pt idx="69">
                  <c:v>958</c:v>
                </c:pt>
                <c:pt idx="70">
                  <c:v>1032</c:v>
                </c:pt>
                <c:pt idx="71">
                  <c:v>1088</c:v>
                </c:pt>
                <c:pt idx="72">
                  <c:v>1090</c:v>
                </c:pt>
                <c:pt idx="73">
                  <c:v>1130</c:v>
                </c:pt>
                <c:pt idx="74">
                  <c:v>1209</c:v>
                </c:pt>
                <c:pt idx="75">
                  <c:v>1309</c:v>
                </c:pt>
                <c:pt idx="76">
                  <c:v>1364</c:v>
                </c:pt>
                <c:pt idx="77">
                  <c:v>1431</c:v>
                </c:pt>
                <c:pt idx="78">
                  <c:v>1468</c:v>
                </c:pt>
                <c:pt idx="79">
                  <c:v>1477</c:v>
                </c:pt>
                <c:pt idx="80">
                  <c:v>1510</c:v>
                </c:pt>
                <c:pt idx="81">
                  <c:v>1622</c:v>
                </c:pt>
                <c:pt idx="82">
                  <c:v>1624</c:v>
                </c:pt>
                <c:pt idx="83">
                  <c:v>1677</c:v>
                </c:pt>
                <c:pt idx="84">
                  <c:v>1779</c:v>
                </c:pt>
                <c:pt idx="85">
                  <c:v>1875</c:v>
                </c:pt>
                <c:pt idx="86">
                  <c:v>1920</c:v>
                </c:pt>
                <c:pt idx="87">
                  <c:v>1934</c:v>
                </c:pt>
                <c:pt idx="88">
                  <c:v>2042</c:v>
                </c:pt>
                <c:pt idx="89">
                  <c:v>2029</c:v>
                </c:pt>
                <c:pt idx="90">
                  <c:v>2113</c:v>
                </c:pt>
                <c:pt idx="91">
                  <c:v>2149</c:v>
                </c:pt>
                <c:pt idx="92">
                  <c:v>2187</c:v>
                </c:pt>
                <c:pt idx="93">
                  <c:v>2211</c:v>
                </c:pt>
                <c:pt idx="94">
                  <c:v>2165</c:v>
                </c:pt>
                <c:pt idx="95">
                  <c:v>2139</c:v>
                </c:pt>
                <c:pt idx="96">
                  <c:v>2221</c:v>
                </c:pt>
                <c:pt idx="97">
                  <c:v>2144</c:v>
                </c:pt>
                <c:pt idx="98">
                  <c:v>2042</c:v>
                </c:pt>
                <c:pt idx="99">
                  <c:v>2047</c:v>
                </c:pt>
                <c:pt idx="100">
                  <c:v>2029</c:v>
                </c:pt>
                <c:pt idx="101">
                  <c:v>1890</c:v>
                </c:pt>
                <c:pt idx="102">
                  <c:v>1837</c:v>
                </c:pt>
                <c:pt idx="103">
                  <c:v>1782</c:v>
                </c:pt>
                <c:pt idx="104">
                  <c:v>1753</c:v>
                </c:pt>
                <c:pt idx="105">
                  <c:v>1687</c:v>
                </c:pt>
                <c:pt idx="106">
                  <c:v>1687</c:v>
                </c:pt>
                <c:pt idx="107">
                  <c:v>1674</c:v>
                </c:pt>
                <c:pt idx="108">
                  <c:v>1533</c:v>
                </c:pt>
                <c:pt idx="109">
                  <c:v>1506</c:v>
                </c:pt>
                <c:pt idx="110">
                  <c:v>1446</c:v>
                </c:pt>
                <c:pt idx="111">
                  <c:v>1382</c:v>
                </c:pt>
                <c:pt idx="112">
                  <c:v>1323</c:v>
                </c:pt>
                <c:pt idx="113">
                  <c:v>1308</c:v>
                </c:pt>
                <c:pt idx="114">
                  <c:v>1277</c:v>
                </c:pt>
                <c:pt idx="115">
                  <c:v>1170</c:v>
                </c:pt>
                <c:pt idx="116">
                  <c:v>1118</c:v>
                </c:pt>
                <c:pt idx="117">
                  <c:v>1067</c:v>
                </c:pt>
                <c:pt idx="118">
                  <c:v>1027</c:v>
                </c:pt>
                <c:pt idx="119">
                  <c:v>935</c:v>
                </c:pt>
                <c:pt idx="120">
                  <c:v>901</c:v>
                </c:pt>
                <c:pt idx="121">
                  <c:v>861</c:v>
                </c:pt>
                <c:pt idx="122">
                  <c:v>800</c:v>
                </c:pt>
                <c:pt idx="123">
                  <c:v>800</c:v>
                </c:pt>
                <c:pt idx="124">
                  <c:v>783</c:v>
                </c:pt>
                <c:pt idx="125">
                  <c:v>758</c:v>
                </c:pt>
                <c:pt idx="126">
                  <c:v>735</c:v>
                </c:pt>
                <c:pt idx="127">
                  <c:v>714</c:v>
                </c:pt>
                <c:pt idx="128">
                  <c:v>710</c:v>
                </c:pt>
                <c:pt idx="129">
                  <c:v>688</c:v>
                </c:pt>
                <c:pt idx="130">
                  <c:v>701</c:v>
                </c:pt>
                <c:pt idx="131">
                  <c:v>689</c:v>
                </c:pt>
                <c:pt idx="132">
                  <c:v>696</c:v>
                </c:pt>
                <c:pt idx="133">
                  <c:v>740</c:v>
                </c:pt>
                <c:pt idx="134">
                  <c:v>755</c:v>
                </c:pt>
                <c:pt idx="135">
                  <c:v>750</c:v>
                </c:pt>
                <c:pt idx="136">
                  <c:v>712</c:v>
                </c:pt>
                <c:pt idx="137">
                  <c:v>736</c:v>
                </c:pt>
                <c:pt idx="138">
                  <c:v>768</c:v>
                </c:pt>
                <c:pt idx="139">
                  <c:v>802</c:v>
                </c:pt>
                <c:pt idx="140">
                  <c:v>847</c:v>
                </c:pt>
                <c:pt idx="141">
                  <c:v>906</c:v>
                </c:pt>
                <c:pt idx="142">
                  <c:v>905</c:v>
                </c:pt>
                <c:pt idx="143">
                  <c:v>995</c:v>
                </c:pt>
                <c:pt idx="144">
                  <c:v>1143</c:v>
                </c:pt>
                <c:pt idx="145">
                  <c:v>1290</c:v>
                </c:pt>
                <c:pt idx="146">
                  <c:v>1432</c:v>
                </c:pt>
                <c:pt idx="147">
                  <c:v>1550</c:v>
                </c:pt>
                <c:pt idx="148">
                  <c:v>1576</c:v>
                </c:pt>
                <c:pt idx="149">
                  <c:v>1598</c:v>
                </c:pt>
                <c:pt idx="150">
                  <c:v>1759</c:v>
                </c:pt>
                <c:pt idx="151">
                  <c:v>2034</c:v>
                </c:pt>
                <c:pt idx="152">
                  <c:v>2375</c:v>
                </c:pt>
                <c:pt idx="153">
                  <c:v>2501</c:v>
                </c:pt>
                <c:pt idx="154">
                  <c:v>2737</c:v>
                </c:pt>
                <c:pt idx="155">
                  <c:v>2693</c:v>
                </c:pt>
                <c:pt idx="156">
                  <c:v>2693</c:v>
                </c:pt>
                <c:pt idx="157">
                  <c:v>2924</c:v>
                </c:pt>
                <c:pt idx="158">
                  <c:v>3293</c:v>
                </c:pt>
                <c:pt idx="159">
                  <c:v>3558</c:v>
                </c:pt>
                <c:pt idx="160">
                  <c:v>3492</c:v>
                </c:pt>
                <c:pt idx="161">
                  <c:v>3416</c:v>
                </c:pt>
                <c:pt idx="162">
                  <c:v>3247</c:v>
                </c:pt>
                <c:pt idx="163">
                  <c:v>3014</c:v>
                </c:pt>
                <c:pt idx="164">
                  <c:v>3078</c:v>
                </c:pt>
                <c:pt idx="165">
                  <c:v>3293</c:v>
                </c:pt>
                <c:pt idx="166">
                  <c:v>3390</c:v>
                </c:pt>
                <c:pt idx="167">
                  <c:v>3085</c:v>
                </c:pt>
                <c:pt idx="168">
                  <c:v>2885</c:v>
                </c:pt>
                <c:pt idx="169">
                  <c:v>2664</c:v>
                </c:pt>
                <c:pt idx="170">
                  <c:v>2421</c:v>
                </c:pt>
                <c:pt idx="171">
                  <c:v>2408</c:v>
                </c:pt>
                <c:pt idx="172">
                  <c:v>2561</c:v>
                </c:pt>
                <c:pt idx="173">
                  <c:v>2644</c:v>
                </c:pt>
                <c:pt idx="174">
                  <c:v>2311</c:v>
                </c:pt>
                <c:pt idx="175">
                  <c:v>2183</c:v>
                </c:pt>
                <c:pt idx="176">
                  <c:v>1985</c:v>
                </c:pt>
                <c:pt idx="177">
                  <c:v>1790</c:v>
                </c:pt>
                <c:pt idx="178">
                  <c:v>1782</c:v>
                </c:pt>
                <c:pt idx="179">
                  <c:v>1815</c:v>
                </c:pt>
                <c:pt idx="180">
                  <c:v>1803</c:v>
                </c:pt>
                <c:pt idx="181">
                  <c:v>1566</c:v>
                </c:pt>
                <c:pt idx="182">
                  <c:v>14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9.1782611028705868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7.08.21</c:v>
                </c:pt>
                <c:pt idx="1">
                  <c:v>28.08.21</c:v>
                </c:pt>
                <c:pt idx="2">
                  <c:v>29.08.21</c:v>
                </c:pt>
                <c:pt idx="3">
                  <c:v>30.08.21</c:v>
                </c:pt>
                <c:pt idx="4">
                  <c:v>31.08.21</c:v>
                </c:pt>
                <c:pt idx="5">
                  <c:v>01.09.21</c:v>
                </c:pt>
                <c:pt idx="6">
                  <c:v>02.09.21</c:v>
                </c:pt>
                <c:pt idx="7">
                  <c:v>03.09.21</c:v>
                </c:pt>
                <c:pt idx="8">
                  <c:v>04.09.21</c:v>
                </c:pt>
                <c:pt idx="9">
                  <c:v>05.09.21</c:v>
                </c:pt>
                <c:pt idx="10">
                  <c:v>06.09.21</c:v>
                </c:pt>
                <c:pt idx="11">
                  <c:v>07.09.21</c:v>
                </c:pt>
                <c:pt idx="12">
                  <c:v>08.09.21</c:v>
                </c:pt>
                <c:pt idx="13">
                  <c:v>09.09.21</c:v>
                </c:pt>
                <c:pt idx="14">
                  <c:v>10.09.21</c:v>
                </c:pt>
                <c:pt idx="15">
                  <c:v>11.09.21</c:v>
                </c:pt>
                <c:pt idx="16">
                  <c:v>12.09.21</c:v>
                </c:pt>
                <c:pt idx="17">
                  <c:v>13.09.21</c:v>
                </c:pt>
                <c:pt idx="18">
                  <c:v>14.09.21</c:v>
                </c:pt>
                <c:pt idx="19">
                  <c:v>15.09.21</c:v>
                </c:pt>
                <c:pt idx="20">
                  <c:v>16.09.21</c:v>
                </c:pt>
                <c:pt idx="21">
                  <c:v>17.09.21</c:v>
                </c:pt>
                <c:pt idx="22">
                  <c:v>18.09.21</c:v>
                </c:pt>
                <c:pt idx="23">
                  <c:v>19.09.21</c:v>
                </c:pt>
                <c:pt idx="24">
                  <c:v>20.09.21</c:v>
                </c:pt>
                <c:pt idx="25">
                  <c:v>21.09.21</c:v>
                </c:pt>
                <c:pt idx="26">
                  <c:v>22.09.21</c:v>
                </c:pt>
                <c:pt idx="27">
                  <c:v>23.09.21</c:v>
                </c:pt>
                <c:pt idx="28">
                  <c:v>24.09.21</c:v>
                </c:pt>
                <c:pt idx="29">
                  <c:v>25.09.21</c:v>
                </c:pt>
                <c:pt idx="30">
                  <c:v>26.09.21</c:v>
                </c:pt>
                <c:pt idx="31">
                  <c:v>27.09.21</c:v>
                </c:pt>
                <c:pt idx="32">
                  <c:v>28.09.21</c:v>
                </c:pt>
                <c:pt idx="33">
                  <c:v>29.09.21</c:v>
                </c:pt>
                <c:pt idx="34">
                  <c:v>30.09.21</c:v>
                </c:pt>
                <c:pt idx="35">
                  <c:v>01.10.21</c:v>
                </c:pt>
                <c:pt idx="36">
                  <c:v>02.10.21</c:v>
                </c:pt>
                <c:pt idx="37">
                  <c:v>03.10.21</c:v>
                </c:pt>
                <c:pt idx="38">
                  <c:v>04.10.21</c:v>
                </c:pt>
                <c:pt idx="39">
                  <c:v>05.10.21</c:v>
                </c:pt>
                <c:pt idx="40">
                  <c:v>06.10.21</c:v>
                </c:pt>
                <c:pt idx="41">
                  <c:v>07.10.21</c:v>
                </c:pt>
                <c:pt idx="42">
                  <c:v>08.10.21</c:v>
                </c:pt>
                <c:pt idx="43">
                  <c:v>09.10.21</c:v>
                </c:pt>
                <c:pt idx="44">
                  <c:v>10.10.21</c:v>
                </c:pt>
                <c:pt idx="45">
                  <c:v>11.10.21</c:v>
                </c:pt>
                <c:pt idx="46">
                  <c:v>12.10.21</c:v>
                </c:pt>
                <c:pt idx="47">
                  <c:v>13.10.21</c:v>
                </c:pt>
                <c:pt idx="48">
                  <c:v>14.10.21</c:v>
                </c:pt>
                <c:pt idx="49">
                  <c:v>15.10.21</c:v>
                </c:pt>
                <c:pt idx="50">
                  <c:v>16.10.21</c:v>
                </c:pt>
                <c:pt idx="51">
                  <c:v>17.10.21</c:v>
                </c:pt>
                <c:pt idx="52">
                  <c:v>18.10.21</c:v>
                </c:pt>
                <c:pt idx="53">
                  <c:v>19.10.21</c:v>
                </c:pt>
                <c:pt idx="54">
                  <c:v>20.10.21</c:v>
                </c:pt>
                <c:pt idx="55">
                  <c:v>21.10.21</c:v>
                </c:pt>
                <c:pt idx="56">
                  <c:v>22.10.21</c:v>
                </c:pt>
                <c:pt idx="57">
                  <c:v>23.10.21</c:v>
                </c:pt>
                <c:pt idx="58">
                  <c:v>24.10.21</c:v>
                </c:pt>
                <c:pt idx="59">
                  <c:v>25.10.21</c:v>
                </c:pt>
                <c:pt idx="60">
                  <c:v>26.10.21</c:v>
                </c:pt>
                <c:pt idx="61">
                  <c:v>27.10.21</c:v>
                </c:pt>
                <c:pt idx="62">
                  <c:v>28.10.21</c:v>
                </c:pt>
                <c:pt idx="63">
                  <c:v>29.10.21</c:v>
                </c:pt>
                <c:pt idx="64">
                  <c:v>30.10.21</c:v>
                </c:pt>
                <c:pt idx="65">
                  <c:v>31.10.21</c:v>
                </c:pt>
                <c:pt idx="66">
                  <c:v>01.11.21</c:v>
                </c:pt>
                <c:pt idx="67">
                  <c:v>02.11.21</c:v>
                </c:pt>
                <c:pt idx="68">
                  <c:v>03.11.21</c:v>
                </c:pt>
                <c:pt idx="69">
                  <c:v>04.11.21</c:v>
                </c:pt>
                <c:pt idx="70">
                  <c:v>05.11.21</c:v>
                </c:pt>
                <c:pt idx="71">
                  <c:v>06.11.21</c:v>
                </c:pt>
                <c:pt idx="72">
                  <c:v>07.11.21</c:v>
                </c:pt>
                <c:pt idx="73">
                  <c:v>08.11.21</c:v>
                </c:pt>
                <c:pt idx="74">
                  <c:v>09.11.21</c:v>
                </c:pt>
                <c:pt idx="75">
                  <c:v>10.11.21</c:v>
                </c:pt>
                <c:pt idx="76">
                  <c:v>11.11.21</c:v>
                </c:pt>
                <c:pt idx="77">
                  <c:v>12.11.21</c:v>
                </c:pt>
                <c:pt idx="78">
                  <c:v>13.11.21</c:v>
                </c:pt>
                <c:pt idx="79">
                  <c:v>14.11.21</c:v>
                </c:pt>
                <c:pt idx="80">
                  <c:v>15.11.21</c:v>
                </c:pt>
                <c:pt idx="81">
                  <c:v>16.11.21</c:v>
                </c:pt>
                <c:pt idx="82">
                  <c:v>17.11.21</c:v>
                </c:pt>
                <c:pt idx="83">
                  <c:v>18.11.21</c:v>
                </c:pt>
                <c:pt idx="84">
                  <c:v>19.11.21</c:v>
                </c:pt>
                <c:pt idx="85">
                  <c:v>20.11.21</c:v>
                </c:pt>
                <c:pt idx="86">
                  <c:v>21.11.21</c:v>
                </c:pt>
                <c:pt idx="87">
                  <c:v>22.11.21</c:v>
                </c:pt>
                <c:pt idx="88">
                  <c:v>23.11.21</c:v>
                </c:pt>
                <c:pt idx="89">
                  <c:v>24.11.21</c:v>
                </c:pt>
                <c:pt idx="90">
                  <c:v>25.11.21</c:v>
                </c:pt>
                <c:pt idx="91">
                  <c:v>26.11.21</c:v>
                </c:pt>
                <c:pt idx="92">
                  <c:v>27.11.21</c:v>
                </c:pt>
                <c:pt idx="93">
                  <c:v>28.11.21</c:v>
                </c:pt>
                <c:pt idx="94">
                  <c:v>29.11.21</c:v>
                </c:pt>
                <c:pt idx="95">
                  <c:v>30.11.21</c:v>
                </c:pt>
                <c:pt idx="96">
                  <c:v>01.12.21</c:v>
                </c:pt>
                <c:pt idx="97">
                  <c:v>02.12.21</c:v>
                </c:pt>
                <c:pt idx="98">
                  <c:v>03.12.21</c:v>
                </c:pt>
                <c:pt idx="99">
                  <c:v>04.12.21</c:v>
                </c:pt>
                <c:pt idx="100">
                  <c:v>05.12.21</c:v>
                </c:pt>
                <c:pt idx="101">
                  <c:v>06.12.21</c:v>
                </c:pt>
                <c:pt idx="102">
                  <c:v>07.12.21</c:v>
                </c:pt>
                <c:pt idx="103">
                  <c:v>08.12.21</c:v>
                </c:pt>
                <c:pt idx="104">
                  <c:v>09.12.21</c:v>
                </c:pt>
                <c:pt idx="105">
                  <c:v>10.12.21</c:v>
                </c:pt>
                <c:pt idx="106">
                  <c:v>11.12.21</c:v>
                </c:pt>
                <c:pt idx="107">
                  <c:v>12.12.21</c:v>
                </c:pt>
                <c:pt idx="108">
                  <c:v>13.12.21</c:v>
                </c:pt>
                <c:pt idx="109">
                  <c:v>14.12.21</c:v>
                </c:pt>
                <c:pt idx="110">
                  <c:v>15.12.21</c:v>
                </c:pt>
                <c:pt idx="111">
                  <c:v>16.12.21</c:v>
                </c:pt>
                <c:pt idx="112">
                  <c:v>17.12.21</c:v>
                </c:pt>
                <c:pt idx="113">
                  <c:v>18.12.21</c:v>
                </c:pt>
                <c:pt idx="114">
                  <c:v>19.12.21</c:v>
                </c:pt>
                <c:pt idx="115">
                  <c:v>20.12.21</c:v>
                </c:pt>
                <c:pt idx="116">
                  <c:v>21.12.21</c:v>
                </c:pt>
                <c:pt idx="117">
                  <c:v>22.12.21</c:v>
                </c:pt>
                <c:pt idx="118">
                  <c:v>23.12.21</c:v>
                </c:pt>
                <c:pt idx="119">
                  <c:v>24.12.21</c:v>
                </c:pt>
                <c:pt idx="120">
                  <c:v>25.12.21</c:v>
                </c:pt>
                <c:pt idx="121">
                  <c:v>26.12.21</c:v>
                </c:pt>
                <c:pt idx="122">
                  <c:v>27.12.21</c:v>
                </c:pt>
                <c:pt idx="123">
                  <c:v>28.12.21</c:v>
                </c:pt>
                <c:pt idx="124">
                  <c:v>29.12.21</c:v>
                </c:pt>
                <c:pt idx="125">
                  <c:v>30.12.21</c:v>
                </c:pt>
                <c:pt idx="126">
                  <c:v>31.12.21</c:v>
                </c:pt>
                <c:pt idx="127">
                  <c:v>01.01.22</c:v>
                </c:pt>
                <c:pt idx="128">
                  <c:v>02.01.22</c:v>
                </c:pt>
                <c:pt idx="129">
                  <c:v>03.01.22</c:v>
                </c:pt>
                <c:pt idx="130">
                  <c:v>04.01.22</c:v>
                </c:pt>
                <c:pt idx="131">
                  <c:v>05.01.22</c:v>
                </c:pt>
                <c:pt idx="132">
                  <c:v>06.01.22</c:v>
                </c:pt>
                <c:pt idx="133">
                  <c:v>07.01.22</c:v>
                </c:pt>
                <c:pt idx="134">
                  <c:v>08.01.22</c:v>
                </c:pt>
                <c:pt idx="135">
                  <c:v>09.01.22</c:v>
                </c:pt>
                <c:pt idx="136">
                  <c:v>10.01.22</c:v>
                </c:pt>
                <c:pt idx="137">
                  <c:v>11.01.22</c:v>
                </c:pt>
                <c:pt idx="138">
                  <c:v>12.01.22</c:v>
                </c:pt>
                <c:pt idx="139">
                  <c:v>13.01.22</c:v>
                </c:pt>
                <c:pt idx="140">
                  <c:v>14.01.22</c:v>
                </c:pt>
                <c:pt idx="141">
                  <c:v>15.01.22</c:v>
                </c:pt>
                <c:pt idx="142">
                  <c:v>16.01.22</c:v>
                </c:pt>
                <c:pt idx="143">
                  <c:v>17.01.22</c:v>
                </c:pt>
                <c:pt idx="144">
                  <c:v>18.01.22</c:v>
                </c:pt>
                <c:pt idx="145">
                  <c:v>19.01.22</c:v>
                </c:pt>
                <c:pt idx="146">
                  <c:v>20.01.22</c:v>
                </c:pt>
                <c:pt idx="147">
                  <c:v>21.01.22</c:v>
                </c:pt>
                <c:pt idx="148">
                  <c:v>22.01.22</c:v>
                </c:pt>
                <c:pt idx="149">
                  <c:v>23.01.22</c:v>
                </c:pt>
                <c:pt idx="150">
                  <c:v>24.01.22</c:v>
                </c:pt>
                <c:pt idx="151">
                  <c:v>25.01.22</c:v>
                </c:pt>
                <c:pt idx="152">
                  <c:v>26.01.22</c:v>
                </c:pt>
                <c:pt idx="153">
                  <c:v>27.01.22</c:v>
                </c:pt>
                <c:pt idx="154">
                  <c:v>28.01.22</c:v>
                </c:pt>
                <c:pt idx="155">
                  <c:v>29.01.22</c:v>
                </c:pt>
                <c:pt idx="156">
                  <c:v>30.01.22</c:v>
                </c:pt>
                <c:pt idx="157">
                  <c:v>31.01.22</c:v>
                </c:pt>
                <c:pt idx="158">
                  <c:v>01.02.22</c:v>
                </c:pt>
                <c:pt idx="159">
                  <c:v>02.02.22</c:v>
                </c:pt>
                <c:pt idx="160">
                  <c:v>03.02.22</c:v>
                </c:pt>
                <c:pt idx="161">
                  <c:v>04.02.22</c:v>
                </c:pt>
                <c:pt idx="162">
                  <c:v>05.02.22</c:v>
                </c:pt>
                <c:pt idx="163">
                  <c:v>06.02.22</c:v>
                </c:pt>
                <c:pt idx="164">
                  <c:v>07.02.22</c:v>
                </c:pt>
                <c:pt idx="165">
                  <c:v>08.02.22</c:v>
                </c:pt>
                <c:pt idx="166">
                  <c:v>09.02.22</c:v>
                </c:pt>
                <c:pt idx="167">
                  <c:v>10.02.22</c:v>
                </c:pt>
                <c:pt idx="168">
                  <c:v>11.02.22</c:v>
                </c:pt>
                <c:pt idx="169">
                  <c:v>12.02.22</c:v>
                </c:pt>
                <c:pt idx="170">
                  <c:v>13.02.22</c:v>
                </c:pt>
                <c:pt idx="171">
                  <c:v>14.02.22</c:v>
                </c:pt>
                <c:pt idx="172">
                  <c:v>15.02.22</c:v>
                </c:pt>
                <c:pt idx="173">
                  <c:v>16.02.22</c:v>
                </c:pt>
                <c:pt idx="174">
                  <c:v>17.02.22</c:v>
                </c:pt>
                <c:pt idx="175">
                  <c:v>18.02.22</c:v>
                </c:pt>
                <c:pt idx="176">
                  <c:v>19.02.22</c:v>
                </c:pt>
                <c:pt idx="177">
                  <c:v>20.02.22</c:v>
                </c:pt>
                <c:pt idx="178">
                  <c:v>21.02.22</c:v>
                </c:pt>
                <c:pt idx="179">
                  <c:v>22.02.22</c:v>
                </c:pt>
                <c:pt idx="180">
                  <c:v>23.02.22</c:v>
                </c:pt>
                <c:pt idx="181">
                  <c:v>24.02.22</c:v>
                </c:pt>
                <c:pt idx="182">
                  <c:v>25.02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122</c:v>
                </c:pt>
                <c:pt idx="1">
                  <c:v>120</c:v>
                </c:pt>
                <c:pt idx="2">
                  <c:v>121</c:v>
                </c:pt>
                <c:pt idx="3">
                  <c:v>119</c:v>
                </c:pt>
                <c:pt idx="4">
                  <c:v>120</c:v>
                </c:pt>
                <c:pt idx="5">
                  <c:v>122</c:v>
                </c:pt>
                <c:pt idx="6">
                  <c:v>126</c:v>
                </c:pt>
                <c:pt idx="7">
                  <c:v>128</c:v>
                </c:pt>
                <c:pt idx="8">
                  <c:v>131</c:v>
                </c:pt>
                <c:pt idx="9">
                  <c:v>130</c:v>
                </c:pt>
                <c:pt idx="10">
                  <c:v>134</c:v>
                </c:pt>
                <c:pt idx="11">
                  <c:v>135</c:v>
                </c:pt>
                <c:pt idx="12">
                  <c:v>132</c:v>
                </c:pt>
                <c:pt idx="13">
                  <c:v>131</c:v>
                </c:pt>
                <c:pt idx="14">
                  <c:v>133</c:v>
                </c:pt>
                <c:pt idx="15">
                  <c:v>132</c:v>
                </c:pt>
                <c:pt idx="16">
                  <c:v>135</c:v>
                </c:pt>
                <c:pt idx="17">
                  <c:v>136</c:v>
                </c:pt>
                <c:pt idx="18">
                  <c:v>136</c:v>
                </c:pt>
                <c:pt idx="19">
                  <c:v>140</c:v>
                </c:pt>
                <c:pt idx="20">
                  <c:v>143</c:v>
                </c:pt>
                <c:pt idx="21">
                  <c:v>141</c:v>
                </c:pt>
                <c:pt idx="22">
                  <c:v>140</c:v>
                </c:pt>
                <c:pt idx="23">
                  <c:v>143</c:v>
                </c:pt>
                <c:pt idx="24">
                  <c:v>144</c:v>
                </c:pt>
                <c:pt idx="25">
                  <c:v>151</c:v>
                </c:pt>
                <c:pt idx="26">
                  <c:v>158</c:v>
                </c:pt>
                <c:pt idx="27">
                  <c:v>160</c:v>
                </c:pt>
                <c:pt idx="28">
                  <c:v>163</c:v>
                </c:pt>
                <c:pt idx="29">
                  <c:v>166</c:v>
                </c:pt>
                <c:pt idx="30">
                  <c:v>165</c:v>
                </c:pt>
                <c:pt idx="31">
                  <c:v>169</c:v>
                </c:pt>
                <c:pt idx="32">
                  <c:v>174</c:v>
                </c:pt>
                <c:pt idx="33">
                  <c:v>175</c:v>
                </c:pt>
                <c:pt idx="34">
                  <c:v>180</c:v>
                </c:pt>
                <c:pt idx="35">
                  <c:v>183</c:v>
                </c:pt>
                <c:pt idx="36">
                  <c:v>185</c:v>
                </c:pt>
                <c:pt idx="37">
                  <c:v>187</c:v>
                </c:pt>
                <c:pt idx="38">
                  <c:v>189</c:v>
                </c:pt>
                <c:pt idx="39">
                  <c:v>191</c:v>
                </c:pt>
                <c:pt idx="40">
                  <c:v>200</c:v>
                </c:pt>
                <c:pt idx="41">
                  <c:v>206</c:v>
                </c:pt>
                <c:pt idx="42">
                  <c:v>211</c:v>
                </c:pt>
                <c:pt idx="43">
                  <c:v>216</c:v>
                </c:pt>
                <c:pt idx="44">
                  <c:v>218</c:v>
                </c:pt>
                <c:pt idx="45">
                  <c:v>227</c:v>
                </c:pt>
                <c:pt idx="46">
                  <c:v>256</c:v>
                </c:pt>
                <c:pt idx="47">
                  <c:v>262</c:v>
                </c:pt>
                <c:pt idx="48">
                  <c:v>270</c:v>
                </c:pt>
                <c:pt idx="49">
                  <c:v>274</c:v>
                </c:pt>
                <c:pt idx="50">
                  <c:v>280</c:v>
                </c:pt>
                <c:pt idx="51">
                  <c:v>284</c:v>
                </c:pt>
                <c:pt idx="52">
                  <c:v>311</c:v>
                </c:pt>
                <c:pt idx="53">
                  <c:v>352</c:v>
                </c:pt>
                <c:pt idx="54">
                  <c:v>389</c:v>
                </c:pt>
                <c:pt idx="55">
                  <c:v>428</c:v>
                </c:pt>
                <c:pt idx="56">
                  <c:v>459</c:v>
                </c:pt>
                <c:pt idx="57">
                  <c:v>482</c:v>
                </c:pt>
                <c:pt idx="58">
                  <c:v>495</c:v>
                </c:pt>
                <c:pt idx="59">
                  <c:v>543</c:v>
                </c:pt>
                <c:pt idx="60">
                  <c:v>597</c:v>
                </c:pt>
                <c:pt idx="61">
                  <c:v>646</c:v>
                </c:pt>
                <c:pt idx="62">
                  <c:v>669</c:v>
                </c:pt>
                <c:pt idx="63">
                  <c:v>734</c:v>
                </c:pt>
                <c:pt idx="64">
                  <c:v>778</c:v>
                </c:pt>
                <c:pt idx="65">
                  <c:v>807</c:v>
                </c:pt>
                <c:pt idx="66">
                  <c:v>879</c:v>
                </c:pt>
                <c:pt idx="67">
                  <c:v>952</c:v>
                </c:pt>
                <c:pt idx="68">
                  <c:v>1013</c:v>
                </c:pt>
                <c:pt idx="69">
                  <c:v>1067</c:v>
                </c:pt>
                <c:pt idx="70">
                  <c:v>1154</c:v>
                </c:pt>
                <c:pt idx="71">
                  <c:v>1182</c:v>
                </c:pt>
                <c:pt idx="72">
                  <c:v>1183</c:v>
                </c:pt>
                <c:pt idx="73">
                  <c:v>1216</c:v>
                </c:pt>
                <c:pt idx="74">
                  <c:v>1288</c:v>
                </c:pt>
                <c:pt idx="75">
                  <c:v>1365</c:v>
                </c:pt>
                <c:pt idx="76">
                  <c:v>1451</c:v>
                </c:pt>
                <c:pt idx="77">
                  <c:v>1513</c:v>
                </c:pt>
                <c:pt idx="78">
                  <c:v>1560</c:v>
                </c:pt>
                <c:pt idx="79">
                  <c:v>1570</c:v>
                </c:pt>
                <c:pt idx="80">
                  <c:v>1557</c:v>
                </c:pt>
                <c:pt idx="81">
                  <c:v>1629</c:v>
                </c:pt>
                <c:pt idx="82">
                  <c:v>1681</c:v>
                </c:pt>
                <c:pt idx="83">
                  <c:v>1727</c:v>
                </c:pt>
                <c:pt idx="84">
                  <c:v>1858</c:v>
                </c:pt>
                <c:pt idx="85">
                  <c:v>1938</c:v>
                </c:pt>
                <c:pt idx="86">
                  <c:v>1985</c:v>
                </c:pt>
                <c:pt idx="87">
                  <c:v>2019</c:v>
                </c:pt>
                <c:pt idx="88">
                  <c:v>2069</c:v>
                </c:pt>
                <c:pt idx="89">
                  <c:v>2110</c:v>
                </c:pt>
                <c:pt idx="90">
                  <c:v>2228</c:v>
                </c:pt>
                <c:pt idx="91">
                  <c:v>2213</c:v>
                </c:pt>
                <c:pt idx="92">
                  <c:v>2261</c:v>
                </c:pt>
                <c:pt idx="93">
                  <c:v>2283</c:v>
                </c:pt>
                <c:pt idx="94">
                  <c:v>2253</c:v>
                </c:pt>
                <c:pt idx="95">
                  <c:v>2237</c:v>
                </c:pt>
                <c:pt idx="96">
                  <c:v>2325</c:v>
                </c:pt>
                <c:pt idx="97">
                  <c:v>2227</c:v>
                </c:pt>
                <c:pt idx="98">
                  <c:v>2162</c:v>
                </c:pt>
                <c:pt idx="99">
                  <c:v>2165</c:v>
                </c:pt>
                <c:pt idx="100">
                  <c:v>2142</c:v>
                </c:pt>
                <c:pt idx="101">
                  <c:v>2060</c:v>
                </c:pt>
                <c:pt idx="102">
                  <c:v>2018</c:v>
                </c:pt>
                <c:pt idx="103">
                  <c:v>1958</c:v>
                </c:pt>
                <c:pt idx="104">
                  <c:v>1892</c:v>
                </c:pt>
                <c:pt idx="105">
                  <c:v>1826</c:v>
                </c:pt>
                <c:pt idx="106">
                  <c:v>1827</c:v>
                </c:pt>
                <c:pt idx="107">
                  <c:v>1802</c:v>
                </c:pt>
                <c:pt idx="108">
                  <c:v>1679</c:v>
                </c:pt>
                <c:pt idx="109">
                  <c:v>1670</c:v>
                </c:pt>
                <c:pt idx="110">
                  <c:v>1635</c:v>
                </c:pt>
                <c:pt idx="111">
                  <c:v>1571</c:v>
                </c:pt>
                <c:pt idx="112">
                  <c:v>1522</c:v>
                </c:pt>
                <c:pt idx="113">
                  <c:v>1519</c:v>
                </c:pt>
                <c:pt idx="114">
                  <c:v>1489</c:v>
                </c:pt>
                <c:pt idx="115">
                  <c:v>1366</c:v>
                </c:pt>
                <c:pt idx="116">
                  <c:v>1305</c:v>
                </c:pt>
                <c:pt idx="117">
                  <c:v>1235</c:v>
                </c:pt>
                <c:pt idx="118">
                  <c:v>1213</c:v>
                </c:pt>
                <c:pt idx="119">
                  <c:v>1128</c:v>
                </c:pt>
                <c:pt idx="120">
                  <c:v>1091</c:v>
                </c:pt>
                <c:pt idx="121">
                  <c:v>1054</c:v>
                </c:pt>
                <c:pt idx="122">
                  <c:v>927</c:v>
                </c:pt>
                <c:pt idx="123">
                  <c:v>923</c:v>
                </c:pt>
                <c:pt idx="124">
                  <c:v>886</c:v>
                </c:pt>
                <c:pt idx="125">
                  <c:v>859</c:v>
                </c:pt>
                <c:pt idx="126">
                  <c:v>846</c:v>
                </c:pt>
                <c:pt idx="127">
                  <c:v>818</c:v>
                </c:pt>
                <c:pt idx="128">
                  <c:v>788</c:v>
                </c:pt>
                <c:pt idx="129">
                  <c:v>754</c:v>
                </c:pt>
                <c:pt idx="130">
                  <c:v>780</c:v>
                </c:pt>
                <c:pt idx="131">
                  <c:v>783</c:v>
                </c:pt>
                <c:pt idx="132">
                  <c:v>813</c:v>
                </c:pt>
                <c:pt idx="133">
                  <c:v>865</c:v>
                </c:pt>
                <c:pt idx="134">
                  <c:v>877</c:v>
                </c:pt>
                <c:pt idx="135">
                  <c:v>872</c:v>
                </c:pt>
                <c:pt idx="136">
                  <c:v>859</c:v>
                </c:pt>
                <c:pt idx="137">
                  <c:v>882</c:v>
                </c:pt>
                <c:pt idx="138">
                  <c:v>913</c:v>
                </c:pt>
                <c:pt idx="139">
                  <c:v>922</c:v>
                </c:pt>
                <c:pt idx="140">
                  <c:v>964</c:v>
                </c:pt>
                <c:pt idx="141">
                  <c:v>1006</c:v>
                </c:pt>
                <c:pt idx="142">
                  <c:v>1023</c:v>
                </c:pt>
                <c:pt idx="143">
                  <c:v>1089</c:v>
                </c:pt>
                <c:pt idx="144">
                  <c:v>1216</c:v>
                </c:pt>
                <c:pt idx="145">
                  <c:v>1358</c:v>
                </c:pt>
                <c:pt idx="146">
                  <c:v>1516</c:v>
                </c:pt>
                <c:pt idx="147">
                  <c:v>1558</c:v>
                </c:pt>
                <c:pt idx="148">
                  <c:v>1602</c:v>
                </c:pt>
                <c:pt idx="149">
                  <c:v>1601</c:v>
                </c:pt>
                <c:pt idx="150">
                  <c:v>1697</c:v>
                </c:pt>
                <c:pt idx="151">
                  <c:v>1958</c:v>
                </c:pt>
                <c:pt idx="152">
                  <c:v>2284</c:v>
                </c:pt>
                <c:pt idx="153">
                  <c:v>2352</c:v>
                </c:pt>
                <c:pt idx="154">
                  <c:v>2570</c:v>
                </c:pt>
                <c:pt idx="155">
                  <c:v>2487</c:v>
                </c:pt>
                <c:pt idx="156">
                  <c:v>2474</c:v>
                </c:pt>
                <c:pt idx="157">
                  <c:v>2593</c:v>
                </c:pt>
                <c:pt idx="158">
                  <c:v>2950</c:v>
                </c:pt>
                <c:pt idx="159">
                  <c:v>3159</c:v>
                </c:pt>
                <c:pt idx="160">
                  <c:v>3133</c:v>
                </c:pt>
                <c:pt idx="161">
                  <c:v>3071</c:v>
                </c:pt>
                <c:pt idx="162">
                  <c:v>2924</c:v>
                </c:pt>
                <c:pt idx="163">
                  <c:v>2692</c:v>
                </c:pt>
                <c:pt idx="164">
                  <c:v>2790</c:v>
                </c:pt>
                <c:pt idx="165">
                  <c:v>3008</c:v>
                </c:pt>
                <c:pt idx="166">
                  <c:v>3163</c:v>
                </c:pt>
                <c:pt idx="167">
                  <c:v>2868</c:v>
                </c:pt>
                <c:pt idx="168">
                  <c:v>2693</c:v>
                </c:pt>
                <c:pt idx="169">
                  <c:v>2460</c:v>
                </c:pt>
                <c:pt idx="170">
                  <c:v>2222</c:v>
                </c:pt>
                <c:pt idx="171">
                  <c:v>2186</c:v>
                </c:pt>
                <c:pt idx="172">
                  <c:v>2321</c:v>
                </c:pt>
                <c:pt idx="173">
                  <c:v>2343</c:v>
                </c:pt>
                <c:pt idx="174">
                  <c:v>2016</c:v>
                </c:pt>
                <c:pt idx="175">
                  <c:v>1844</c:v>
                </c:pt>
                <c:pt idx="176">
                  <c:v>1661</c:v>
                </c:pt>
                <c:pt idx="177">
                  <c:v>1479</c:v>
                </c:pt>
                <c:pt idx="178">
                  <c:v>1446</c:v>
                </c:pt>
                <c:pt idx="179">
                  <c:v>1491</c:v>
                </c:pt>
                <c:pt idx="180">
                  <c:v>1517</c:v>
                </c:pt>
                <c:pt idx="181">
                  <c:v>1317</c:v>
                </c:pt>
                <c:pt idx="182">
                  <c:v>12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8455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notesSlide" Target="../notesSlides/notesSlide21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chart" Target="../charts/char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chart" Target="../charts/chart1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notesSlide" Target="../notesSlides/notesSlide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chart" Target="../charts/char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chart" Target="../charts/char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notesSlide" Target="../notesSlides/notesSlide23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chart" Target="../charts/char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chart" Target="../charts/char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notesSlide" Target="../notesSlides/notesSlide24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chart" Target="../charts/chart1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chart" Target="../charts/chart17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5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4" Type="http://schemas.openxmlformats.org/officeDocument/2006/relationships/chart" Target="../charts/char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8 % a sestry 84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82969972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1912447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6637794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4754456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4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25. 2. 2022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81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/2021 –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25. 2. 2022</a:t>
            </a:r>
          </a:p>
        </p:txBody>
      </p:sp>
    </p:spTree>
    <p:extLst>
      <p:ext uri="{BB962C8B-B14F-4D97-AF65-F5344CB8AC3E}">
        <p14:creationId xmlns:p14="http://schemas.microsoft.com/office/powerpoint/2010/main" val="16451423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/2021 –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25. 2. 2022</a:t>
            </a:r>
          </a:p>
        </p:txBody>
      </p:sp>
    </p:spTree>
    <p:extLst>
      <p:ext uri="{BB962C8B-B14F-4D97-AF65-F5344CB8AC3E}">
        <p14:creationId xmlns:p14="http://schemas.microsoft.com/office/powerpoint/2010/main" val="11197486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02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25. 2. 2022</a:t>
            </a:r>
          </a:p>
        </p:txBody>
      </p:sp>
    </p:spTree>
    <p:extLst>
      <p:ext uri="{BB962C8B-B14F-4D97-AF65-F5344CB8AC3E}">
        <p14:creationId xmlns:p14="http://schemas.microsoft.com/office/powerpoint/2010/main" val="30432499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2. 2022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0737206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ABEA05EB-6626-4B0A-A47D-F85F5E222E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28281"/>
              </p:ext>
            </p:extLst>
          </p:nvPr>
        </p:nvGraphicFramePr>
        <p:xfrm>
          <a:off x="1943097" y="1600988"/>
          <a:ext cx="9946013" cy="4555965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493149274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4131648148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027815069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21804964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337561739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893041603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4237499476"/>
                    </a:ext>
                  </a:extLst>
                </a:gridCol>
              </a:tblGrid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5089722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6C9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2545095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891504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2742211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858830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738782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0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1860566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7861342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144942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2C7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4680185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1496216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0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E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3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5945894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976067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C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1629824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056884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5. 2. 2022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81316"/>
              </p:ext>
            </p:extLst>
          </p:nvPr>
        </p:nvGraphicFramePr>
        <p:xfrm>
          <a:off x="302889" y="921878"/>
          <a:ext cx="11586222" cy="5235072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65785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6 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 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1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6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9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 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 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 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3 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 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8 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3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 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 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7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4 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1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 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 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 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 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 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 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1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4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 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 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 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 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9 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 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 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9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2 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4 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90 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357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70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7 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215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31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148535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24A2C78B-7E52-4AA6-B37A-62B6C2E5EC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139587"/>
              </p:ext>
            </p:extLst>
          </p:nvPr>
        </p:nvGraphicFramePr>
        <p:xfrm>
          <a:off x="2419349" y="1343818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0061823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4505076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32659983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1641768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7118298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212980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09843506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1748607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20199494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2080205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3300267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920758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96317966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85290222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01701498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424619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97553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108377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42206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331021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7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29094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2962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38038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583420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314616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F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76659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748851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180116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5. 2. 2022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3777996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65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5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6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2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 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A0E17-AC87-4A06-8BFF-D4626ED2DB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208206"/>
              </p:ext>
            </p:extLst>
          </p:nvPr>
        </p:nvGraphicFramePr>
        <p:xfrm>
          <a:off x="2419349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69778846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9985932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1765805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62478145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672757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2863695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5494788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4990738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8017931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1120307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4897533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2958970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5179655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5687371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56620989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63563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864600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03566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80136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231478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09376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4308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18959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670089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3599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00615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195975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C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247352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5. 2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AF1561B3-7273-473B-A2DD-A77D8870E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5621077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83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5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8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3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8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1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52482748-7777-4FEF-A872-F35246E600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7529732"/>
              </p:ext>
            </p:extLst>
          </p:nvPr>
        </p:nvGraphicFramePr>
        <p:xfrm>
          <a:off x="2419349" y="1343818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71724549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385517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1497195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6541381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0822395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2079111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403337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245640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435645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202364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744524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4456005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1496860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18568911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002258274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4296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585959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333304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586566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61834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81962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3393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0014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3756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706810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33131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43025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6375905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 a ve více typech zdravotnických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5. 2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0FC5E21-D439-468C-9A0B-56B392BA28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1214392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44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3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0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8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1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0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45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5. 2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4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4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2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9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4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5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2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6 (3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25 (10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2 (9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 (24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8128" y="1540420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91070" y="1371146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8128" y="1835695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01588" y="3751224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42614330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*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5. 2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723900" y="6567385"/>
            <a:ext cx="4933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5163612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8630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4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2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73190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.–28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.–4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2.–11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2.–18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3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F6D444CD-665C-4A01-9636-8729C58DF7B8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6556871" y="4668253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23E62285-1657-4793-BF8F-5755B351B188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8025122" y="4667149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788AF4F2-B3F6-47FC-9D9C-113A218EBA4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9737059" y="3422165"/>
            <a:ext cx="864268" cy="1547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872B7605-2DA1-485F-B319-1CF70047B09B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0858825" y="3422165"/>
            <a:ext cx="999800" cy="13689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56765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A1A17EB-9ECA-4C24-8912-EF92363C1C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1365429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9937375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otovo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.–28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.–4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2.–11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2.–18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3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7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E09D6B3D-4AE2-486B-B125-21A37C114CCC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6471146" y="4677778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E1A72B36-C118-4F61-B936-66396FA87DB4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939397" y="4676674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1AFDFE2A-B7DE-44EE-B9FC-4BA7A6F4E236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9651334" y="3231665"/>
            <a:ext cx="864268" cy="1547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38F2F6CD-B5DC-4AEA-9B96-D51274965BD7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0773100" y="3231665"/>
            <a:ext cx="999800" cy="13689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426206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AB75CD35-D60A-4842-A868-455961D2CCC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3951068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6087449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.–28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.–4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2.–11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2.–18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2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5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5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2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23C45169-A356-4D1C-B0D0-980BF43F0EA2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6556871" y="4668253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EBF6DFCF-743E-430B-A22D-0A440F354DD1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8025122" y="4667149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99BCE31F-EF08-40BE-A5F4-5E6D4192BAA5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9763125" y="3117365"/>
            <a:ext cx="790577" cy="17764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19AF6F87-C379-4BE3-BE00-32E9237CD5E9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0811200" y="3117365"/>
            <a:ext cx="1114100" cy="15497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36252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48FC8E2C-EA85-4B60-9865-EAD22E25BEC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3569365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6080604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95147" y="69562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4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1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13717" y="23550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57785" y="3112624"/>
            <a:ext cx="1176796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podzimu 2021 vzrostla, a to ve všech profesních skupinách. Celková proočkovanost ZP dosahuje 83,8 % (jen ZP skutečně aktivní ve zdravotnictví). Roste i proočkovanost posilující dávkou. Z pracovníků, kteří na ni mají (časově) nárok, ji dosud absolvovalo 88,5 % lékařů, 79,1 % sester a 75,1 % ostatních NLZP (celkem 79,8 % všech aktivních ZP s nárokem na booster)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2211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1.–28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1.–4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2.–11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2.–18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0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8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0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9192FF6C-3728-4161-A0ED-B9A6264594A7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6490196" y="4592053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C2908BF3-D2A8-4364-B880-10FAA1686215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958447" y="4590949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5EE7C69B-6A95-4BE3-98C1-DF061397D614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9696450" y="3041165"/>
            <a:ext cx="790577" cy="17764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970511CE-8245-433B-8DD0-FE7EE8C30598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0744525" y="3041165"/>
            <a:ext cx="1114100" cy="15497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45168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C8965D-0124-498F-80A9-118259CDBC83}"/>
              </a:ext>
            </a:extLst>
          </p:cNvPr>
          <p:cNvGraphicFramePr>
            <a:graphicFrameLocks noGrp="1"/>
          </p:cNvGraphicFramePr>
          <p:nvPr/>
        </p:nvGraphicFramePr>
        <p:xfrm>
          <a:off x="2333625" y="2260664"/>
          <a:ext cx="9284988" cy="3609975"/>
        </p:xfrm>
        <a:graphic>
          <a:graphicData uri="http://schemas.openxmlformats.org/drawingml/2006/table">
            <a:tbl>
              <a:tblPr/>
              <a:tblGrid>
                <a:gridCol w="773749">
                  <a:extLst>
                    <a:ext uri="{9D8B030D-6E8A-4147-A177-3AD203B41FA5}">
                      <a16:colId xmlns:a16="http://schemas.microsoft.com/office/drawing/2014/main" val="2601821232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410330178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84112847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177340615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879999063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692109262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2447228165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1093164201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744779428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3405384427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1716478515"/>
                    </a:ext>
                  </a:extLst>
                </a:gridCol>
                <a:gridCol w="773749">
                  <a:extLst>
                    <a:ext uri="{9D8B030D-6E8A-4147-A177-3AD203B41FA5}">
                      <a16:colId xmlns:a16="http://schemas.microsoft.com/office/drawing/2014/main" val="3928611053"/>
                    </a:ext>
                  </a:extLst>
                </a:gridCol>
              </a:tblGrid>
              <a:tr h="24066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9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C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2915595"/>
                  </a:ext>
                </a:extLst>
              </a:tr>
              <a:tr h="24066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3643708"/>
                  </a:ext>
                </a:extLst>
              </a:tr>
              <a:tr h="24066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2129041"/>
                  </a:ext>
                </a:extLst>
              </a:tr>
              <a:tr h="24066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D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2774254"/>
                  </a:ext>
                </a:extLst>
              </a:tr>
              <a:tr h="24066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4156340"/>
                  </a:ext>
                </a:extLst>
              </a:tr>
              <a:tr h="24066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0978911"/>
                  </a:ext>
                </a:extLst>
              </a:tr>
              <a:tr h="24066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147451"/>
                  </a:ext>
                </a:extLst>
              </a:tr>
              <a:tr h="24066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8051784"/>
                  </a:ext>
                </a:extLst>
              </a:tr>
              <a:tr h="24066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25437"/>
                  </a:ext>
                </a:extLst>
              </a:tr>
              <a:tr h="24066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9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5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88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9258028"/>
                  </a:ext>
                </a:extLst>
              </a:tr>
              <a:tr h="24066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F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54142"/>
                  </a:ext>
                </a:extLst>
              </a:tr>
              <a:tr h="24066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E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0424043"/>
                  </a:ext>
                </a:extLst>
              </a:tr>
              <a:tr h="24066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92313"/>
                  </a:ext>
                </a:extLst>
              </a:tr>
              <a:tr h="24066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6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443002"/>
                  </a:ext>
                </a:extLst>
              </a:tr>
              <a:tr h="240665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3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5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6955458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5. 2. 2022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45668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7220785C-1941-4677-AB50-1BC0EE592FF1}"/>
              </a:ext>
            </a:extLst>
          </p:cNvPr>
          <p:cNvGraphicFramePr>
            <a:graphicFrameLocks noGrp="1"/>
          </p:cNvGraphicFramePr>
          <p:nvPr/>
        </p:nvGraphicFramePr>
        <p:xfrm>
          <a:off x="3787238" y="1996281"/>
          <a:ext cx="7347932" cy="3996645"/>
        </p:xfrm>
        <a:graphic>
          <a:graphicData uri="http://schemas.openxmlformats.org/drawingml/2006/table">
            <a:tbl>
              <a:tblPr/>
              <a:tblGrid>
                <a:gridCol w="1836983">
                  <a:extLst>
                    <a:ext uri="{9D8B030D-6E8A-4147-A177-3AD203B41FA5}">
                      <a16:colId xmlns:a16="http://schemas.microsoft.com/office/drawing/2014/main" val="1094867824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1993082604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790078050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1907237736"/>
                    </a:ext>
                  </a:extLst>
                </a:gridCol>
              </a:tblGrid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375912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1130585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2840137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741854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492892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445300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2746813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602762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425285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561194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D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6608576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5342642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1308036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4730343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6297012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 (51 / 14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 (122 / 8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 (73 / 2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 (246 / 24 / 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4 / 5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33 / 4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(34 / -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(71 / 9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5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3 / 2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9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47 / 3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0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36 / 6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6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 (82 / 9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3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7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7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3 / 1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51 / 4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7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2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9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48 / 7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8 / 4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8 / 5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1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57 / 9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7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8 / 5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7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32 / 6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7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30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6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53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33 / 8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101 / 11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68 / - / 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 (202 / 19 / 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4 / 1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41 / 4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4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79 / 6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4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1 / 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9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34 / 5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21 / 4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2 / 1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5 / -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 (148 / 17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 (183 / 50 / 2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5 (577 / 67 / 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7 (397 / 4 / 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1 (1157 / 121 / 8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19. 2. – 25. 2. 2022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922602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189085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ochranný efekt očkování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C0D3B3-E868-48ED-8B20-E96346203717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Tabulka 6">
            <a:extLst>
              <a:ext uri="{FF2B5EF4-FFF2-40B4-BE49-F238E27FC236}">
                <a16:creationId xmlns:a16="http://schemas.microsoft.com/office/drawing/2014/main" id="{75D422DF-F902-4FEB-95E0-74A260757A7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9954448" y="579624"/>
          <a:ext cx="2237552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7552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</a:t>
                      </a:r>
                    </a:p>
                    <a:p>
                      <a:r>
                        <a:rPr lang="cs-CZ" sz="1600" dirty="0"/>
                        <a:t>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7CE6062-A746-4B16-BD2A-949B93077515}"/>
              </a:ext>
            </a:extLst>
          </p:cNvPr>
          <p:cNvGrpSpPr/>
          <p:nvPr/>
        </p:nvGrpSpPr>
        <p:grpSpPr>
          <a:xfrm>
            <a:off x="9452933" y="1218878"/>
            <a:ext cx="501515" cy="1254265"/>
            <a:chOff x="8290713" y="1759987"/>
            <a:chExt cx="501515" cy="1250887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7563C-7EBE-4F25-BEB6-D430463D6421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8167A6-4279-4A9B-B47B-88A5FD918BA6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FAA41837-EA61-4D95-BFBF-CF1F1DFE6706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0" name="TextovéPole 9">
            <a:extLst>
              <a:ext uri="{FF2B5EF4-FFF2-40B4-BE49-F238E27FC236}">
                <a16:creationId xmlns:a16="http://schemas.microsoft.com/office/drawing/2014/main" id="{B0CACE72-74DF-4F1D-8B6E-82387089DAD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584005" y="1107964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</p:spTree>
    <p:extLst>
      <p:ext uri="{BB962C8B-B14F-4D97-AF65-F5344CB8AC3E}">
        <p14:creationId xmlns:p14="http://schemas.microsoft.com/office/powerpoint/2010/main" val="63188750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ZP celkem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35052" y="584090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4C813269-00DE-42CD-868F-1A8124E15D9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74256" y="495959"/>
          <a:ext cx="11145281" cy="4771466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0.5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9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3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3.8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2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1.9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.6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396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4.7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1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8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7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2.0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5.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39644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d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327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9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0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5.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8.4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no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54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0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4.0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7.9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824829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9AE174D0-6698-4842-89D9-1FEEEAE58C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6838" y="5308992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6. 2. 2022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49BE471-0E2C-462B-8FF7-F5902000E2F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62533" y="5503310"/>
            <a:ext cx="117652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</a:pPr>
            <a:r>
              <a:rPr lang="cs-CZ" sz="1400" b="1" spc="0" dirty="0">
                <a:solidFill>
                  <a:srgbClr val="0000FF"/>
                </a:solidFill>
                <a:effectLst/>
                <a:latin typeface="Calibri" panose="020F0502020204030204" pitchFamily="34" charset="0"/>
              </a:rPr>
              <a:t>Ochranný efekt vakcinace proti nákaze v čase významně klesá. Avšak posilující dávka vrátila na konci roku 2021 ochranu proti nákaze zpět nad hodnotu 85%. Aktuální ochranný efekt posíleného očkování proti nákaze je cca 50%. 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</a:p>
        </p:txBody>
      </p:sp>
    </p:spTree>
    <p:extLst>
      <p:ext uri="{BB962C8B-B14F-4D97-AF65-F5344CB8AC3E}">
        <p14:creationId xmlns:p14="http://schemas.microsoft.com/office/powerpoint/2010/main" val="34937542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5. 2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36345875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27676BE-FED5-4891-A49E-5B33074F0EA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9265668"/>
              </p:ext>
            </p:extLst>
          </p:nvPr>
        </p:nvGraphicFramePr>
        <p:xfrm>
          <a:off x="1407510" y="1169485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245294" y="6380943"/>
            <a:ext cx="11946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349362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8569713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4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5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1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5 6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5 1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8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5. 2. 2022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2. 2022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211504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3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0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5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 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5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1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4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r>
              <a:rPr lang="cs-CZ" sz="900" dirty="0"/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563338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</a:t>
            </a:r>
            <a:r>
              <a:rPr lang="cs-CZ" b="1" dirty="0">
                <a:solidFill>
                  <a:srgbClr val="FFFFFF"/>
                </a:solidFill>
              </a:rPr>
              <a:t>25. 2. 2022</a:t>
            </a:r>
            <a:endParaRPr lang="cs-CZ" b="1" dirty="0">
              <a:solidFill>
                <a:schemeClr val="bg1"/>
              </a:solidFill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lang="pl-PL" sz="1100" dirty="0"/>
              <a:t>v období od 1.9.2021 do současnosti </a:t>
            </a:r>
            <a:r>
              <a:rPr lang="cs-CZ" sz="1100" dirty="0"/>
              <a:t>(v ambulantním sektoru mohou být tyto počty mírně nedohlášené). 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* Přeočkování posilující dávkou je možné pro osoby, které mají nejméně 6 měsíců (v této analýze 182 dnů) po aplikaci ukončovací (druhé) dávky.</a:t>
            </a:r>
          </a:p>
          <a:p>
            <a:r>
              <a:rPr lang="cs-CZ" sz="1100" dirty="0"/>
              <a:t>** Jeden zdravotnický pracovník může působit ve více krajích, do celkového počtu je zahrnut pouze jednou. </a:t>
            </a:r>
          </a:p>
        </p:txBody>
      </p:sp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300A08B3-B18A-4DE9-97BC-1912730507AF}"/>
              </a:ext>
            </a:extLst>
          </p:cNvPr>
          <p:cNvGraphicFramePr>
            <a:graphicFrameLocks noGrp="1"/>
          </p:cNvGraphicFramePr>
          <p:nvPr/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1001822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82608376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41392143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067111112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9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5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7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4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5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8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5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 4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 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0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3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3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9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7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267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2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6579048-BB0C-4A41-91BF-EE6AEF0D2553}"/>
              </a:ext>
            </a:extLst>
          </p:cNvPr>
          <p:cNvGraphicFramePr>
            <a:graphicFrameLocks noGrp="1"/>
          </p:cNvGraphicFramePr>
          <p:nvPr/>
        </p:nvGraphicFramePr>
        <p:xfrm>
          <a:off x="337535" y="1200434"/>
          <a:ext cx="11516932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104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ukončova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100 (88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078 (74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39 (13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 (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7 (3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06 (8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372 (83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319 (61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443 (22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0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11 (9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13 (6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098 (81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784 (56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787 (24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7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20 (1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69 (8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05 (7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47 (55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71 (23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5 (9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3 (10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6 (8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8 (53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8 (25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2 (1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5 (8,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83 (82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19 (56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09 (25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76 (10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7 (7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9 (86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1 (66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4 (1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5 (7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8 (5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11 (76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18 (50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9 (25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5 (12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1 (11,3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37 (82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05 (57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52 (24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3 (10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2 (7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98 (8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27 (56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71 (24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9 (9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0 (9,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570 (83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5 181 (62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3 069 (21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 320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 918 (8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 588 (7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67803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2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/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/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0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4 5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2 7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3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7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6 2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5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4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49 3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27290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96</TotalTime>
  <Words>9539</Words>
  <Application>Microsoft Office PowerPoint</Application>
  <PresentationFormat>Širokoúhlá obrazovka</PresentationFormat>
  <Paragraphs>2118</Paragraphs>
  <Slides>38</Slides>
  <Notes>27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38</vt:i4>
      </vt:variant>
    </vt:vector>
  </HeadingPairs>
  <TitlesOfParts>
    <vt:vector size="44" baseType="lpstr">
      <vt:lpstr>Calibri</vt:lpstr>
      <vt:lpstr>Calibri Light</vt:lpstr>
      <vt:lpstr>Arial</vt:lpstr>
      <vt:lpstr>Motiv Office</vt:lpstr>
      <vt:lpstr>3_Motiv Office</vt:lpstr>
      <vt:lpstr>1_Motiv Office</vt:lpstr>
      <vt:lpstr>Prezentace aplikace PowerPoint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/2021 – 01/2022</vt:lpstr>
      <vt:lpstr>Přehled povolání u COVID-19 pozitivních ostatních zdravotnických pracovníků za období 10/2021 – 01/2022</vt:lpstr>
      <vt:lpstr>Přehled povolání u COVID-19 pozitivních ostatních zdravotnických pracovníků za období 01-02/2022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et nových případů COVID-19 na 100 tis. dané kategorie v populaci ZP celkem </vt:lpstr>
      <vt:lpstr>Prezentace aplikace PowerPoint</vt:lpstr>
      <vt:lpstr>Prezentace aplikace PowerPoint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865</cp:revision>
  <dcterms:created xsi:type="dcterms:W3CDTF">2020-11-11T17:36:28Z</dcterms:created>
  <dcterms:modified xsi:type="dcterms:W3CDTF">2022-02-27T16:42:23Z</dcterms:modified>
</cp:coreProperties>
</file>